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573" r:id="rId5"/>
    <p:sldId id="687" r:id="rId6"/>
    <p:sldId id="704" r:id="rId7"/>
    <p:sldId id="701" r:id="rId8"/>
    <p:sldId id="703" r:id="rId9"/>
    <p:sldId id="702" r:id="rId10"/>
    <p:sldId id="698" r:id="rId11"/>
    <p:sldId id="706" r:id="rId12"/>
    <p:sldId id="697" r:id="rId13"/>
    <p:sldId id="696" r:id="rId14"/>
    <p:sldId id="700" r:id="rId15"/>
    <p:sldId id="257" r:id="rId16"/>
  </p:sldIdLst>
  <p:sldSz cx="11520488" cy="6480175"/>
  <p:notesSz cx="6858000" cy="9144000"/>
  <p:custDataLst>
    <p:tags r:id="rId19"/>
  </p:custDataLst>
  <p:defaultTextStyle>
    <a:defPPr>
      <a:defRPr lang="de-DE"/>
    </a:defPPr>
    <a:lvl1pPr marL="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74689" autoAdjust="0"/>
  </p:normalViewPr>
  <p:slideViewPr>
    <p:cSldViewPr>
      <p:cViewPr varScale="1">
        <p:scale>
          <a:sx n="86" d="100"/>
          <a:sy n="86" d="100"/>
        </p:scale>
        <p:origin x="619" y="72"/>
      </p:cViewPr>
      <p:guideLst>
        <p:guide orient="horz" pos="2041"/>
        <p:guide pos="3628"/>
      </p:guideLst>
    </p:cSldViewPr>
  </p:slideViewPr>
  <p:outlineViewPr>
    <p:cViewPr>
      <p:scale>
        <a:sx n="33" d="100"/>
        <a:sy n="33" d="100"/>
      </p:scale>
      <p:origin x="0" y="-82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3288"/>
    </p:cViewPr>
  </p:sorterViewPr>
  <p:notesViewPr>
    <p:cSldViewPr>
      <p:cViewPr varScale="1">
        <p:scale>
          <a:sx n="63" d="100"/>
          <a:sy n="63" d="100"/>
        </p:scale>
        <p:origin x="3134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00F3086-4031-4179-B1DD-D4F5EFB12305}" type="doc">
      <dgm:prSet loTypeId="urn:microsoft.com/office/officeart/2005/8/layout/chevron2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DA7DECB5-3713-4A2E-9814-D58F6D6A8F2D}">
      <dgm:prSet phldr="0" custT="1"/>
      <dgm:spPr/>
      <dgm:t>
        <a:bodyPr/>
        <a:lstStyle/>
        <a:p>
          <a:pPr algn="just">
            <a:lnSpc>
              <a:spcPct val="120000"/>
            </a:lnSpc>
            <a:buFontTx/>
            <a:buNone/>
          </a:pPr>
          <a:r>
            <a:rPr lang="en-IN" sz="2800">
              <a:latin typeface="Arial" panose="020B0604020202020204"/>
            </a:rPr>
            <a:t>Problem &amp; Ziele</a:t>
          </a:r>
          <a:endParaRPr lang="de-DE" sz="2800" dirty="0">
            <a:latin typeface="Arial" panose="020B0604020202020204"/>
          </a:endParaRPr>
        </a:p>
      </dgm:t>
    </dgm:pt>
    <dgm:pt modelId="{A917BA1E-FB7C-40D8-B5B0-7A96056567BA}" type="parTrans" cxnId="{8CCE4AE8-F1F8-4EE2-A7AF-428FF0C57F7E}">
      <dgm:prSet/>
      <dgm:spPr/>
      <dgm:t>
        <a:bodyPr/>
        <a:lstStyle/>
        <a:p>
          <a:endParaRPr lang="en-IN" sz="2800"/>
        </a:p>
      </dgm:t>
    </dgm:pt>
    <dgm:pt modelId="{94E643EA-15C6-40BB-9CF3-AD2952E8820C}" type="sibTrans" cxnId="{8CCE4AE8-F1F8-4EE2-A7AF-428FF0C57F7E}">
      <dgm:prSet/>
      <dgm:spPr/>
      <dgm:t>
        <a:bodyPr/>
        <a:lstStyle/>
        <a:p>
          <a:endParaRPr lang="en-IN" sz="2800"/>
        </a:p>
      </dgm:t>
    </dgm:pt>
    <dgm:pt modelId="{DCEF1539-3E94-4EC0-9E4E-6A711EAB0086}">
      <dgm:prSet phldr="0" custT="1"/>
      <dgm:spPr/>
      <dgm:t>
        <a:bodyPr/>
        <a:lstStyle/>
        <a:p>
          <a:pPr algn="just">
            <a:lnSpc>
              <a:spcPct val="120000"/>
            </a:lnSpc>
            <a:buFontTx/>
            <a:buNone/>
          </a:pPr>
          <a:r>
            <a:rPr lang="en-US" sz="2800">
              <a:latin typeface="Arial"/>
              <a:ea typeface="Calibri"/>
              <a:cs typeface="Arial"/>
            </a:rPr>
            <a:t>Architektur – Offline &amp; Online</a:t>
          </a:r>
          <a:endParaRPr lang="en-US" sz="2800" dirty="0">
            <a:ea typeface="Calibri"/>
          </a:endParaRPr>
        </a:p>
      </dgm:t>
    </dgm:pt>
    <dgm:pt modelId="{797A862F-DC4B-44A2-BBAC-75578108CD29}" type="parTrans" cxnId="{106137EA-457F-468F-9740-076B159FE2A8}">
      <dgm:prSet/>
      <dgm:spPr/>
      <dgm:t>
        <a:bodyPr/>
        <a:lstStyle/>
        <a:p>
          <a:endParaRPr lang="en-IN" sz="2800"/>
        </a:p>
      </dgm:t>
    </dgm:pt>
    <dgm:pt modelId="{7F5E9FDB-9DAD-4682-A855-8C8BCD1A7168}" type="sibTrans" cxnId="{106137EA-457F-468F-9740-076B159FE2A8}">
      <dgm:prSet/>
      <dgm:spPr/>
      <dgm:t>
        <a:bodyPr/>
        <a:lstStyle/>
        <a:p>
          <a:endParaRPr lang="en-IN" sz="2800"/>
        </a:p>
      </dgm:t>
    </dgm:pt>
    <dgm:pt modelId="{A957CBBB-5490-4D2B-8D8B-6BCE34905071}">
      <dgm:prSet phldr="0" custT="1"/>
      <dgm:spPr/>
      <dgm:t>
        <a:bodyPr/>
        <a:lstStyle/>
        <a:p>
          <a:pPr algn="just">
            <a:lnSpc>
              <a:spcPct val="120000"/>
            </a:lnSpc>
            <a:buFontTx/>
            <a:buNone/>
          </a:pPr>
          <a:r>
            <a:rPr lang="en-IN" sz="2800">
              <a:latin typeface="Arial" panose="020B0604020202020204"/>
            </a:rPr>
            <a:t>Tech Stack</a:t>
          </a:r>
          <a:endParaRPr lang="en-US" sz="2800" dirty="0"/>
        </a:p>
      </dgm:t>
    </dgm:pt>
    <dgm:pt modelId="{DC304124-7BA1-4420-9B9F-9E82EDC9CF44}" type="parTrans" cxnId="{DFAF485D-2BEE-4D89-9A49-072A0F52FB01}">
      <dgm:prSet/>
      <dgm:spPr/>
      <dgm:t>
        <a:bodyPr/>
        <a:lstStyle/>
        <a:p>
          <a:endParaRPr lang="en-IN" sz="2800"/>
        </a:p>
      </dgm:t>
    </dgm:pt>
    <dgm:pt modelId="{49D86121-3786-40EA-AB38-9CC0BF4FC57C}" type="sibTrans" cxnId="{DFAF485D-2BEE-4D89-9A49-072A0F52FB01}">
      <dgm:prSet/>
      <dgm:spPr/>
      <dgm:t>
        <a:bodyPr/>
        <a:lstStyle/>
        <a:p>
          <a:endParaRPr lang="en-IN" sz="2800"/>
        </a:p>
      </dgm:t>
    </dgm:pt>
    <dgm:pt modelId="{576FD803-E115-4675-BF2E-D4C4DEDF442C}">
      <dgm:prSet phldr="0" custT="1"/>
      <dgm:spPr/>
      <dgm:t>
        <a:bodyPr/>
        <a:lstStyle/>
        <a:p>
          <a:pPr algn="just">
            <a:lnSpc>
              <a:spcPct val="120000"/>
            </a:lnSpc>
            <a:buFontTx/>
            <a:buNone/>
          </a:pPr>
          <a:r>
            <a:rPr lang="en-IN" sz="2800">
              <a:latin typeface="Arial" panose="020B0604020202020204"/>
            </a:rPr>
            <a:t>Demo</a:t>
          </a:r>
          <a:endParaRPr lang="en-US" sz="2800" dirty="0"/>
        </a:p>
      </dgm:t>
    </dgm:pt>
    <dgm:pt modelId="{C2E1F824-3F4C-4999-8B23-D248EB3A5BC0}" type="parTrans" cxnId="{4FD7C8D2-0F5D-4F87-862F-74345E99215B}">
      <dgm:prSet/>
      <dgm:spPr/>
      <dgm:t>
        <a:bodyPr/>
        <a:lstStyle/>
        <a:p>
          <a:endParaRPr lang="en-IN" sz="2800"/>
        </a:p>
      </dgm:t>
    </dgm:pt>
    <dgm:pt modelId="{6592DD14-4922-468A-B343-7F308C238B97}" type="sibTrans" cxnId="{4FD7C8D2-0F5D-4F87-862F-74345E99215B}">
      <dgm:prSet/>
      <dgm:spPr/>
      <dgm:t>
        <a:bodyPr/>
        <a:lstStyle/>
        <a:p>
          <a:endParaRPr lang="en-IN" sz="2800"/>
        </a:p>
      </dgm:t>
    </dgm:pt>
    <dgm:pt modelId="{BEB30303-EAEF-479C-A803-FE302411BDC4}">
      <dgm:prSet phldr="0" custT="1"/>
      <dgm:spPr/>
      <dgm:t>
        <a:bodyPr/>
        <a:lstStyle/>
        <a:p>
          <a:pPr algn="just">
            <a:lnSpc>
              <a:spcPct val="120000"/>
            </a:lnSpc>
            <a:buFontTx/>
            <a:buNone/>
          </a:pPr>
          <a:r>
            <a:rPr lang="en-IN" sz="2800">
              <a:latin typeface="Arial" panose="020B0604020202020204"/>
            </a:rPr>
            <a:t>Zukunftsperspektiven</a:t>
          </a:r>
          <a:endParaRPr lang="en-US" sz="2800" dirty="0"/>
        </a:p>
      </dgm:t>
    </dgm:pt>
    <dgm:pt modelId="{59B0E0A0-25CA-4943-90B7-B564BA75C167}" type="parTrans" cxnId="{D091C401-D91C-4A95-9660-860BC07951DD}">
      <dgm:prSet/>
      <dgm:spPr/>
      <dgm:t>
        <a:bodyPr/>
        <a:lstStyle/>
        <a:p>
          <a:endParaRPr lang="en-IN" sz="2800"/>
        </a:p>
      </dgm:t>
    </dgm:pt>
    <dgm:pt modelId="{545ABAF2-4EAB-48F9-B49D-9C7102929B62}" type="sibTrans" cxnId="{D091C401-D91C-4A95-9660-860BC07951DD}">
      <dgm:prSet/>
      <dgm:spPr/>
      <dgm:t>
        <a:bodyPr/>
        <a:lstStyle/>
        <a:p>
          <a:endParaRPr lang="en-IN" sz="2800"/>
        </a:p>
      </dgm:t>
    </dgm:pt>
    <dgm:pt modelId="{7F0A91E7-BDD8-4E70-B837-E70718DE31F4}">
      <dgm:prSet phldr="0" custT="1"/>
      <dgm:spPr>
        <a:solidFill>
          <a:schemeClr val="accent3"/>
        </a:solidFill>
      </dgm:spPr>
      <dgm:t>
        <a:bodyPr anchor="t"/>
        <a:lstStyle/>
        <a:p>
          <a:pPr algn="ctr" rtl="0">
            <a:lnSpc>
              <a:spcPct val="120000"/>
            </a:lnSpc>
          </a:pPr>
          <a:r>
            <a:rPr lang="de-DE" sz="2800" b="1" dirty="0">
              <a:latin typeface="Arial" panose="020B0604020202020204"/>
            </a:rPr>
            <a:t>1</a:t>
          </a:r>
          <a:endParaRPr lang="de-DE" sz="2800" b="1" dirty="0"/>
        </a:p>
      </dgm:t>
    </dgm:pt>
    <dgm:pt modelId="{652555F9-3AD5-461D-A7B5-A012F9444E57}" type="parTrans" cxnId="{D5C9A0DA-7EFC-4F67-AA7D-D5DB41FFB464}">
      <dgm:prSet/>
      <dgm:spPr/>
      <dgm:t>
        <a:bodyPr/>
        <a:lstStyle/>
        <a:p>
          <a:endParaRPr lang="en-IN" sz="2800"/>
        </a:p>
      </dgm:t>
    </dgm:pt>
    <dgm:pt modelId="{F949F7EF-56C5-438D-B37B-72653EBE394A}" type="sibTrans" cxnId="{D5C9A0DA-7EFC-4F67-AA7D-D5DB41FFB464}">
      <dgm:prSet/>
      <dgm:spPr/>
      <dgm:t>
        <a:bodyPr/>
        <a:lstStyle/>
        <a:p>
          <a:endParaRPr lang="en-IN" sz="2800"/>
        </a:p>
      </dgm:t>
    </dgm:pt>
    <dgm:pt modelId="{800C1E5B-49CB-4C02-8396-329577DD4A3D}">
      <dgm:prSet phldr="0" custT="1"/>
      <dgm:spPr>
        <a:solidFill>
          <a:schemeClr val="accent3"/>
        </a:solidFill>
      </dgm:spPr>
      <dgm:t>
        <a:bodyPr anchor="t"/>
        <a:lstStyle/>
        <a:p>
          <a:pPr algn="ctr" rtl="0">
            <a:lnSpc>
              <a:spcPct val="120000"/>
            </a:lnSpc>
          </a:pPr>
          <a:r>
            <a:rPr lang="en-US" sz="2800" b="1" dirty="0">
              <a:latin typeface="Arial"/>
              <a:ea typeface="Calibri"/>
              <a:cs typeface="Arial"/>
            </a:rPr>
            <a:t>2</a:t>
          </a:r>
          <a:endParaRPr lang="en-US" sz="2800" b="1" dirty="0"/>
        </a:p>
      </dgm:t>
    </dgm:pt>
    <dgm:pt modelId="{13DA0405-F6BB-4A9B-84DB-3FC85F966C9B}" type="parTrans" cxnId="{A8632A14-3ECD-4772-8233-28C60430FC17}">
      <dgm:prSet/>
      <dgm:spPr/>
      <dgm:t>
        <a:bodyPr/>
        <a:lstStyle/>
        <a:p>
          <a:endParaRPr lang="en-IN" sz="2800"/>
        </a:p>
      </dgm:t>
    </dgm:pt>
    <dgm:pt modelId="{105463AB-20CF-41AE-9999-8B83CBD7AB2A}" type="sibTrans" cxnId="{A8632A14-3ECD-4772-8233-28C60430FC17}">
      <dgm:prSet/>
      <dgm:spPr/>
      <dgm:t>
        <a:bodyPr/>
        <a:lstStyle/>
        <a:p>
          <a:endParaRPr lang="en-IN" sz="2800"/>
        </a:p>
      </dgm:t>
    </dgm:pt>
    <dgm:pt modelId="{C4F2BCA2-4991-430B-840B-83D93FD75262}">
      <dgm:prSet phldr="0" custT="1"/>
      <dgm:spPr>
        <a:solidFill>
          <a:schemeClr val="accent3"/>
        </a:solidFill>
      </dgm:spPr>
      <dgm:t>
        <a:bodyPr anchor="t"/>
        <a:lstStyle/>
        <a:p>
          <a:pPr algn="ctr">
            <a:lnSpc>
              <a:spcPct val="120000"/>
            </a:lnSpc>
          </a:pPr>
          <a:r>
            <a:rPr lang="en-US" sz="2800" b="1" dirty="0">
              <a:latin typeface="Arial" panose="020B0604020202020204"/>
              <a:ea typeface="Calibri"/>
            </a:rPr>
            <a:t>3</a:t>
          </a:r>
          <a:endParaRPr lang="en-US" sz="2800" b="1" dirty="0"/>
        </a:p>
      </dgm:t>
    </dgm:pt>
    <dgm:pt modelId="{A9B2893C-F701-4E40-AF19-77E2DCABF59A}" type="parTrans" cxnId="{BEA71ECA-63FA-4245-8C31-B194E7D3AAFB}">
      <dgm:prSet/>
      <dgm:spPr/>
      <dgm:t>
        <a:bodyPr/>
        <a:lstStyle/>
        <a:p>
          <a:endParaRPr lang="en-IN" sz="2800"/>
        </a:p>
      </dgm:t>
    </dgm:pt>
    <dgm:pt modelId="{9EE54FF5-EC85-4428-B324-203A58195FD5}" type="sibTrans" cxnId="{BEA71ECA-63FA-4245-8C31-B194E7D3AAFB}">
      <dgm:prSet/>
      <dgm:spPr/>
      <dgm:t>
        <a:bodyPr/>
        <a:lstStyle/>
        <a:p>
          <a:endParaRPr lang="en-IN" sz="2800"/>
        </a:p>
      </dgm:t>
    </dgm:pt>
    <dgm:pt modelId="{CC84A5C9-B30D-4060-AD02-E17652B9D3BF}">
      <dgm:prSet phldr="0" custT="1"/>
      <dgm:spPr>
        <a:solidFill>
          <a:schemeClr val="accent3"/>
        </a:solidFill>
      </dgm:spPr>
      <dgm:t>
        <a:bodyPr anchor="t"/>
        <a:lstStyle/>
        <a:p>
          <a:pPr algn="ctr">
            <a:lnSpc>
              <a:spcPct val="120000"/>
            </a:lnSpc>
          </a:pPr>
          <a:r>
            <a:rPr lang="en-US" sz="2800" b="1" dirty="0">
              <a:latin typeface="Arial" panose="020B0604020202020204"/>
            </a:rPr>
            <a:t>4</a:t>
          </a:r>
          <a:endParaRPr lang="en-US" sz="2800" b="1" dirty="0"/>
        </a:p>
      </dgm:t>
    </dgm:pt>
    <dgm:pt modelId="{565D8B1C-504F-4D5B-9F9E-F546F704BB1F}" type="parTrans" cxnId="{B35D32FD-7F78-4E60-9B3E-C80DACAC5E41}">
      <dgm:prSet/>
      <dgm:spPr/>
      <dgm:t>
        <a:bodyPr/>
        <a:lstStyle/>
        <a:p>
          <a:endParaRPr lang="en-IN" sz="2800"/>
        </a:p>
      </dgm:t>
    </dgm:pt>
    <dgm:pt modelId="{F4833BB2-5E4D-4FB5-A3A8-9646E8662BC8}" type="sibTrans" cxnId="{B35D32FD-7F78-4E60-9B3E-C80DACAC5E41}">
      <dgm:prSet/>
      <dgm:spPr/>
      <dgm:t>
        <a:bodyPr/>
        <a:lstStyle/>
        <a:p>
          <a:endParaRPr lang="en-IN" sz="2800"/>
        </a:p>
      </dgm:t>
    </dgm:pt>
    <dgm:pt modelId="{5380545E-0CD5-438A-AA1A-EF55CAF7ACC5}">
      <dgm:prSet phldr="0" custT="1"/>
      <dgm:spPr>
        <a:solidFill>
          <a:schemeClr val="accent3"/>
        </a:solidFill>
      </dgm:spPr>
      <dgm:t>
        <a:bodyPr anchor="t"/>
        <a:lstStyle/>
        <a:p>
          <a:pPr algn="ctr">
            <a:lnSpc>
              <a:spcPct val="120000"/>
            </a:lnSpc>
          </a:pPr>
          <a:r>
            <a:rPr lang="en-US" sz="2800" b="1" dirty="0">
              <a:latin typeface="Arial" panose="020B0604020202020204"/>
            </a:rPr>
            <a:t>5</a:t>
          </a:r>
          <a:endParaRPr lang="en-US" sz="2800" b="1" dirty="0"/>
        </a:p>
      </dgm:t>
    </dgm:pt>
    <dgm:pt modelId="{BB19A56A-37D8-478D-ABC2-462B08D961D6}" type="parTrans" cxnId="{DDD1D7ED-2BEF-4C61-953B-B58A7E8F5359}">
      <dgm:prSet/>
      <dgm:spPr/>
      <dgm:t>
        <a:bodyPr/>
        <a:lstStyle/>
        <a:p>
          <a:endParaRPr lang="en-IN" sz="2800"/>
        </a:p>
      </dgm:t>
    </dgm:pt>
    <dgm:pt modelId="{208BCAF6-D77C-46C0-AD81-AE942E2353A0}" type="sibTrans" cxnId="{DDD1D7ED-2BEF-4C61-953B-B58A7E8F5359}">
      <dgm:prSet/>
      <dgm:spPr/>
      <dgm:t>
        <a:bodyPr/>
        <a:lstStyle/>
        <a:p>
          <a:endParaRPr lang="en-IN" sz="2800"/>
        </a:p>
      </dgm:t>
    </dgm:pt>
    <dgm:pt modelId="{5A60A509-0F86-4776-B5C3-6F0A483CB88D}">
      <dgm:prSet phldr="0" custT="1"/>
      <dgm:spPr>
        <a:solidFill>
          <a:schemeClr val="accent3"/>
        </a:solidFill>
      </dgm:spPr>
      <dgm:t>
        <a:bodyPr anchor="t"/>
        <a:lstStyle/>
        <a:p>
          <a:r>
            <a:rPr lang="en-US" sz="2800" b="1"/>
            <a:t>6</a:t>
          </a:r>
          <a:endParaRPr lang="en-US" sz="1800" b="1" dirty="0"/>
        </a:p>
      </dgm:t>
    </dgm:pt>
    <dgm:pt modelId="{6666886E-283C-4E27-8FF6-91384D508694}" type="parTrans" cxnId="{C1B68CAE-DC2C-4999-A4E1-DF93427D97F7}">
      <dgm:prSet/>
      <dgm:spPr/>
      <dgm:t>
        <a:bodyPr/>
        <a:lstStyle/>
        <a:p>
          <a:endParaRPr lang="en-IN"/>
        </a:p>
      </dgm:t>
    </dgm:pt>
    <dgm:pt modelId="{CE440367-3137-4773-92CD-2C6791FD2387}" type="sibTrans" cxnId="{C1B68CAE-DC2C-4999-A4E1-DF93427D97F7}">
      <dgm:prSet/>
      <dgm:spPr/>
      <dgm:t>
        <a:bodyPr/>
        <a:lstStyle/>
        <a:p>
          <a:endParaRPr lang="en-IN"/>
        </a:p>
      </dgm:t>
    </dgm:pt>
    <dgm:pt modelId="{300EE179-B035-43F6-A8FF-934142DF4540}">
      <dgm:prSet phldr="0" custT="1"/>
      <dgm:spPr/>
      <dgm:t>
        <a:bodyPr/>
        <a:lstStyle/>
        <a:p>
          <a:pPr>
            <a:buFontTx/>
            <a:buNone/>
          </a:pPr>
          <a:r>
            <a:rPr lang="en-IN" sz="2800">
              <a:latin typeface="Arial" panose="020B0604020202020204"/>
            </a:rPr>
            <a:t>Beliebte GenAI-Bibliotheken</a:t>
          </a:r>
          <a:endParaRPr lang="en-US" sz="2800" dirty="0"/>
        </a:p>
      </dgm:t>
    </dgm:pt>
    <dgm:pt modelId="{4F1098D9-DAF3-4C39-A166-232341D4069D}" type="parTrans" cxnId="{3654045A-61F8-4E5B-97DB-AD8215F1A3DD}">
      <dgm:prSet/>
      <dgm:spPr/>
      <dgm:t>
        <a:bodyPr/>
        <a:lstStyle/>
        <a:p>
          <a:endParaRPr lang="en-IN"/>
        </a:p>
      </dgm:t>
    </dgm:pt>
    <dgm:pt modelId="{B31EF558-E0B7-4E10-B284-FED940BE9D7A}" type="sibTrans" cxnId="{3654045A-61F8-4E5B-97DB-AD8215F1A3DD}">
      <dgm:prSet/>
      <dgm:spPr/>
      <dgm:t>
        <a:bodyPr/>
        <a:lstStyle/>
        <a:p>
          <a:endParaRPr lang="en-IN"/>
        </a:p>
      </dgm:t>
    </dgm:pt>
    <dgm:pt modelId="{F4EA214F-566B-4FEA-AEBF-1FC542D01520}" type="pres">
      <dgm:prSet presAssocID="{400F3086-4031-4179-B1DD-D4F5EFB12305}" presName="linearFlow" presStyleCnt="0">
        <dgm:presLayoutVars>
          <dgm:dir/>
          <dgm:animLvl val="lvl"/>
          <dgm:resizeHandles val="exact"/>
        </dgm:presLayoutVars>
      </dgm:prSet>
      <dgm:spPr/>
    </dgm:pt>
    <dgm:pt modelId="{D5258879-0E7A-4581-8335-CB11692DAAD9}" type="pres">
      <dgm:prSet presAssocID="{7F0A91E7-BDD8-4E70-B837-E70718DE31F4}" presName="composite" presStyleCnt="0"/>
      <dgm:spPr/>
    </dgm:pt>
    <dgm:pt modelId="{25F7BAAF-D2DC-4CA6-846B-B1E657CD63FF}" type="pres">
      <dgm:prSet presAssocID="{7F0A91E7-BDD8-4E70-B837-E70718DE31F4}" presName="parentText" presStyleLbl="alignNode1" presStyleIdx="0" presStyleCnt="6">
        <dgm:presLayoutVars>
          <dgm:chMax val="1"/>
          <dgm:bulletEnabled val="1"/>
        </dgm:presLayoutVars>
      </dgm:prSet>
      <dgm:spPr/>
    </dgm:pt>
    <dgm:pt modelId="{B847ED75-A3A7-490D-83D9-7734497206C2}" type="pres">
      <dgm:prSet presAssocID="{7F0A91E7-BDD8-4E70-B837-E70718DE31F4}" presName="descendantText" presStyleLbl="alignAcc1" presStyleIdx="0" presStyleCnt="6">
        <dgm:presLayoutVars>
          <dgm:bulletEnabled val="1"/>
        </dgm:presLayoutVars>
      </dgm:prSet>
      <dgm:spPr/>
    </dgm:pt>
    <dgm:pt modelId="{5312D554-6AA4-49CA-B07B-0D03F2A3F3D4}" type="pres">
      <dgm:prSet presAssocID="{F949F7EF-56C5-438D-B37B-72653EBE394A}" presName="sp" presStyleCnt="0"/>
      <dgm:spPr/>
    </dgm:pt>
    <dgm:pt modelId="{BD357086-0E2B-4E5C-A490-573FB0E82A1F}" type="pres">
      <dgm:prSet presAssocID="{800C1E5B-49CB-4C02-8396-329577DD4A3D}" presName="composite" presStyleCnt="0"/>
      <dgm:spPr/>
    </dgm:pt>
    <dgm:pt modelId="{9CBDD3DC-5351-43D2-BF26-C3021FCFC0B1}" type="pres">
      <dgm:prSet presAssocID="{800C1E5B-49CB-4C02-8396-329577DD4A3D}" presName="parentText" presStyleLbl="alignNode1" presStyleIdx="1" presStyleCnt="6">
        <dgm:presLayoutVars>
          <dgm:chMax val="1"/>
          <dgm:bulletEnabled val="1"/>
        </dgm:presLayoutVars>
      </dgm:prSet>
      <dgm:spPr/>
    </dgm:pt>
    <dgm:pt modelId="{E5E6E79C-001A-44E8-AC07-63639C872CCA}" type="pres">
      <dgm:prSet presAssocID="{800C1E5B-49CB-4C02-8396-329577DD4A3D}" presName="descendantText" presStyleLbl="alignAcc1" presStyleIdx="1" presStyleCnt="6">
        <dgm:presLayoutVars>
          <dgm:bulletEnabled val="1"/>
        </dgm:presLayoutVars>
      </dgm:prSet>
      <dgm:spPr/>
    </dgm:pt>
    <dgm:pt modelId="{CA30AC93-B86F-49AD-8CC7-9505EBC74D2A}" type="pres">
      <dgm:prSet presAssocID="{105463AB-20CF-41AE-9999-8B83CBD7AB2A}" presName="sp" presStyleCnt="0"/>
      <dgm:spPr/>
    </dgm:pt>
    <dgm:pt modelId="{9CA2D19F-94CC-4FC5-B639-27C0FBCB1C0F}" type="pres">
      <dgm:prSet presAssocID="{C4F2BCA2-4991-430B-840B-83D93FD75262}" presName="composite" presStyleCnt="0"/>
      <dgm:spPr/>
    </dgm:pt>
    <dgm:pt modelId="{89F9C2B7-1EAF-47DB-A8AC-4BC5403E27FF}" type="pres">
      <dgm:prSet presAssocID="{C4F2BCA2-4991-430B-840B-83D93FD75262}" presName="parentText" presStyleLbl="alignNode1" presStyleIdx="2" presStyleCnt="6">
        <dgm:presLayoutVars>
          <dgm:chMax val="1"/>
          <dgm:bulletEnabled val="1"/>
        </dgm:presLayoutVars>
      </dgm:prSet>
      <dgm:spPr/>
    </dgm:pt>
    <dgm:pt modelId="{52EB36EA-A59A-4ACF-B6BA-81CA00A351DF}" type="pres">
      <dgm:prSet presAssocID="{C4F2BCA2-4991-430B-840B-83D93FD75262}" presName="descendantText" presStyleLbl="alignAcc1" presStyleIdx="2" presStyleCnt="6">
        <dgm:presLayoutVars>
          <dgm:bulletEnabled val="1"/>
        </dgm:presLayoutVars>
      </dgm:prSet>
      <dgm:spPr/>
    </dgm:pt>
    <dgm:pt modelId="{C34F1B5C-9E4B-4909-894F-778A58CB714F}" type="pres">
      <dgm:prSet presAssocID="{9EE54FF5-EC85-4428-B324-203A58195FD5}" presName="sp" presStyleCnt="0"/>
      <dgm:spPr/>
    </dgm:pt>
    <dgm:pt modelId="{DD80AE3F-BE7C-4CBB-A174-F7799247CBD2}" type="pres">
      <dgm:prSet presAssocID="{CC84A5C9-B30D-4060-AD02-E17652B9D3BF}" presName="composite" presStyleCnt="0"/>
      <dgm:spPr/>
    </dgm:pt>
    <dgm:pt modelId="{1BFB8159-6537-467E-A278-B427F8B9BCD6}" type="pres">
      <dgm:prSet presAssocID="{CC84A5C9-B30D-4060-AD02-E17652B9D3BF}" presName="parentText" presStyleLbl="alignNode1" presStyleIdx="3" presStyleCnt="6">
        <dgm:presLayoutVars>
          <dgm:chMax val="1"/>
          <dgm:bulletEnabled val="1"/>
        </dgm:presLayoutVars>
      </dgm:prSet>
      <dgm:spPr/>
    </dgm:pt>
    <dgm:pt modelId="{00BB4E45-D3BC-47D6-B342-DC7EF52DE74B}" type="pres">
      <dgm:prSet presAssocID="{CC84A5C9-B30D-4060-AD02-E17652B9D3BF}" presName="descendantText" presStyleLbl="alignAcc1" presStyleIdx="3" presStyleCnt="6">
        <dgm:presLayoutVars>
          <dgm:bulletEnabled val="1"/>
        </dgm:presLayoutVars>
      </dgm:prSet>
      <dgm:spPr/>
    </dgm:pt>
    <dgm:pt modelId="{07940658-1EB0-414A-8F58-F84DC42C8F61}" type="pres">
      <dgm:prSet presAssocID="{F4833BB2-5E4D-4FB5-A3A8-9646E8662BC8}" presName="sp" presStyleCnt="0"/>
      <dgm:spPr/>
    </dgm:pt>
    <dgm:pt modelId="{08E33FBE-5AA7-4E4B-BACD-F25540E6A8C4}" type="pres">
      <dgm:prSet presAssocID="{5380545E-0CD5-438A-AA1A-EF55CAF7ACC5}" presName="composite" presStyleCnt="0"/>
      <dgm:spPr/>
    </dgm:pt>
    <dgm:pt modelId="{12B5C3BF-F2B7-409B-9A6F-EBCBF048D635}" type="pres">
      <dgm:prSet presAssocID="{5380545E-0CD5-438A-AA1A-EF55CAF7ACC5}" presName="parentText" presStyleLbl="alignNode1" presStyleIdx="4" presStyleCnt="6">
        <dgm:presLayoutVars>
          <dgm:chMax val="1"/>
          <dgm:bulletEnabled val="1"/>
        </dgm:presLayoutVars>
      </dgm:prSet>
      <dgm:spPr/>
    </dgm:pt>
    <dgm:pt modelId="{2A1973A3-9333-4ACA-A65B-61BB46552090}" type="pres">
      <dgm:prSet presAssocID="{5380545E-0CD5-438A-AA1A-EF55CAF7ACC5}" presName="descendantText" presStyleLbl="alignAcc1" presStyleIdx="4" presStyleCnt="6">
        <dgm:presLayoutVars>
          <dgm:bulletEnabled val="1"/>
        </dgm:presLayoutVars>
      </dgm:prSet>
      <dgm:spPr/>
    </dgm:pt>
    <dgm:pt modelId="{D526AB13-9525-4E58-BECF-6010BE252240}" type="pres">
      <dgm:prSet presAssocID="{208BCAF6-D77C-46C0-AD81-AE942E2353A0}" presName="sp" presStyleCnt="0"/>
      <dgm:spPr/>
    </dgm:pt>
    <dgm:pt modelId="{2DABF46A-64AC-4895-B5E1-68AC01E1D3F7}" type="pres">
      <dgm:prSet presAssocID="{5A60A509-0F86-4776-B5C3-6F0A483CB88D}" presName="composite" presStyleCnt="0"/>
      <dgm:spPr/>
    </dgm:pt>
    <dgm:pt modelId="{D52C206C-B57C-4C3D-84E0-34882B0F9031}" type="pres">
      <dgm:prSet presAssocID="{5A60A509-0F86-4776-B5C3-6F0A483CB88D}" presName="parentText" presStyleLbl="alignNode1" presStyleIdx="5" presStyleCnt="6">
        <dgm:presLayoutVars>
          <dgm:chMax val="1"/>
          <dgm:bulletEnabled val="1"/>
        </dgm:presLayoutVars>
      </dgm:prSet>
      <dgm:spPr/>
    </dgm:pt>
    <dgm:pt modelId="{4C05DC98-0504-43E4-85C5-678208DD9226}" type="pres">
      <dgm:prSet presAssocID="{5A60A509-0F86-4776-B5C3-6F0A483CB88D}" presName="descendantText" presStyleLbl="alignAcc1" presStyleIdx="5" presStyleCnt="6">
        <dgm:presLayoutVars>
          <dgm:bulletEnabled val="1"/>
        </dgm:presLayoutVars>
      </dgm:prSet>
      <dgm:spPr/>
    </dgm:pt>
  </dgm:ptLst>
  <dgm:cxnLst>
    <dgm:cxn modelId="{D091C401-D91C-4A95-9660-860BC07951DD}" srcId="{5380545E-0CD5-438A-AA1A-EF55CAF7ACC5}" destId="{BEB30303-EAEF-479C-A803-FE302411BDC4}" srcOrd="0" destOrd="0" parTransId="{59B0E0A0-25CA-4943-90B7-B564BA75C167}" sibTransId="{545ABAF2-4EAB-48F9-B49D-9C7102929B62}"/>
    <dgm:cxn modelId="{8F207C0A-85E6-47A4-A86E-ADC8ABA78070}" type="presOf" srcId="{300EE179-B035-43F6-A8FF-934142DF4540}" destId="{4C05DC98-0504-43E4-85C5-678208DD9226}" srcOrd="0" destOrd="0" presId="urn:microsoft.com/office/officeart/2005/8/layout/chevron2"/>
    <dgm:cxn modelId="{6FEB0710-B462-41C5-B36F-667DB360EDEB}" type="presOf" srcId="{5380545E-0CD5-438A-AA1A-EF55CAF7ACC5}" destId="{12B5C3BF-F2B7-409B-9A6F-EBCBF048D635}" srcOrd="0" destOrd="0" presId="urn:microsoft.com/office/officeart/2005/8/layout/chevron2"/>
    <dgm:cxn modelId="{0ED59D11-A68F-4E43-AF28-3709DE0BDDF4}" type="presOf" srcId="{DCEF1539-3E94-4EC0-9E4E-6A711EAB0086}" destId="{E5E6E79C-001A-44E8-AC07-63639C872CCA}" srcOrd="0" destOrd="0" presId="urn:microsoft.com/office/officeart/2005/8/layout/chevron2"/>
    <dgm:cxn modelId="{A8632A14-3ECD-4772-8233-28C60430FC17}" srcId="{400F3086-4031-4179-B1DD-D4F5EFB12305}" destId="{800C1E5B-49CB-4C02-8396-329577DD4A3D}" srcOrd="1" destOrd="0" parTransId="{13DA0405-F6BB-4A9B-84DB-3FC85F966C9B}" sibTransId="{105463AB-20CF-41AE-9999-8B83CBD7AB2A}"/>
    <dgm:cxn modelId="{C602F22E-FF31-4A6D-90C9-197704A3BDFB}" type="presOf" srcId="{BEB30303-EAEF-479C-A803-FE302411BDC4}" destId="{2A1973A3-9333-4ACA-A65B-61BB46552090}" srcOrd="0" destOrd="0" presId="urn:microsoft.com/office/officeart/2005/8/layout/chevron2"/>
    <dgm:cxn modelId="{7E534336-093F-422C-817A-B0EE4831DC26}" type="presOf" srcId="{C4F2BCA2-4991-430B-840B-83D93FD75262}" destId="{89F9C2B7-1EAF-47DB-A8AC-4BC5403E27FF}" srcOrd="0" destOrd="0" presId="urn:microsoft.com/office/officeart/2005/8/layout/chevron2"/>
    <dgm:cxn modelId="{6E3B6039-6A1B-4540-A54E-A5CA60D637EB}" type="presOf" srcId="{400F3086-4031-4179-B1DD-D4F5EFB12305}" destId="{F4EA214F-566B-4FEA-AEBF-1FC542D01520}" srcOrd="0" destOrd="0" presId="urn:microsoft.com/office/officeart/2005/8/layout/chevron2"/>
    <dgm:cxn modelId="{DFAF485D-2BEE-4D89-9A49-072A0F52FB01}" srcId="{C4F2BCA2-4991-430B-840B-83D93FD75262}" destId="{A957CBBB-5490-4D2B-8D8B-6BCE34905071}" srcOrd="0" destOrd="0" parTransId="{DC304124-7BA1-4420-9B9F-9E82EDC9CF44}" sibTransId="{49D86121-3786-40EA-AB38-9CC0BF4FC57C}"/>
    <dgm:cxn modelId="{7CDB914B-3818-49C8-8FDC-639FC20F8D4D}" type="presOf" srcId="{A957CBBB-5490-4D2B-8D8B-6BCE34905071}" destId="{52EB36EA-A59A-4ACF-B6BA-81CA00A351DF}" srcOrd="0" destOrd="0" presId="urn:microsoft.com/office/officeart/2005/8/layout/chevron2"/>
    <dgm:cxn modelId="{D75A9B58-5ABC-4F5F-A0A1-FF0AEB0F52EB}" type="presOf" srcId="{DA7DECB5-3713-4A2E-9814-D58F6D6A8F2D}" destId="{B847ED75-A3A7-490D-83D9-7734497206C2}" srcOrd="0" destOrd="0" presId="urn:microsoft.com/office/officeart/2005/8/layout/chevron2"/>
    <dgm:cxn modelId="{3654045A-61F8-4E5B-97DB-AD8215F1A3DD}" srcId="{5A60A509-0F86-4776-B5C3-6F0A483CB88D}" destId="{300EE179-B035-43F6-A8FF-934142DF4540}" srcOrd="0" destOrd="0" parTransId="{4F1098D9-DAF3-4C39-A166-232341D4069D}" sibTransId="{B31EF558-E0B7-4E10-B284-FED940BE9D7A}"/>
    <dgm:cxn modelId="{C1B68CAE-DC2C-4999-A4E1-DF93427D97F7}" srcId="{400F3086-4031-4179-B1DD-D4F5EFB12305}" destId="{5A60A509-0F86-4776-B5C3-6F0A483CB88D}" srcOrd="5" destOrd="0" parTransId="{6666886E-283C-4E27-8FF6-91384D508694}" sibTransId="{CE440367-3137-4773-92CD-2C6791FD2387}"/>
    <dgm:cxn modelId="{7720CCB0-A9DE-4E6D-B563-48C23A0DF4E5}" type="presOf" srcId="{800C1E5B-49CB-4C02-8396-329577DD4A3D}" destId="{9CBDD3DC-5351-43D2-BF26-C3021FCFC0B1}" srcOrd="0" destOrd="0" presId="urn:microsoft.com/office/officeart/2005/8/layout/chevron2"/>
    <dgm:cxn modelId="{924887BF-97B9-4DF2-8F02-07D70D1A65DD}" type="presOf" srcId="{5A60A509-0F86-4776-B5C3-6F0A483CB88D}" destId="{D52C206C-B57C-4C3D-84E0-34882B0F9031}" srcOrd="0" destOrd="0" presId="urn:microsoft.com/office/officeart/2005/8/layout/chevron2"/>
    <dgm:cxn modelId="{785BA6C3-9E3D-4F48-B38B-4DA538930C5E}" type="presOf" srcId="{7F0A91E7-BDD8-4E70-B837-E70718DE31F4}" destId="{25F7BAAF-D2DC-4CA6-846B-B1E657CD63FF}" srcOrd="0" destOrd="0" presId="urn:microsoft.com/office/officeart/2005/8/layout/chevron2"/>
    <dgm:cxn modelId="{BEA71ECA-63FA-4245-8C31-B194E7D3AAFB}" srcId="{400F3086-4031-4179-B1DD-D4F5EFB12305}" destId="{C4F2BCA2-4991-430B-840B-83D93FD75262}" srcOrd="2" destOrd="0" parTransId="{A9B2893C-F701-4E40-AF19-77E2DCABF59A}" sibTransId="{9EE54FF5-EC85-4428-B324-203A58195FD5}"/>
    <dgm:cxn modelId="{FF6D6FCB-55C3-4768-934E-82C1BB384486}" type="presOf" srcId="{576FD803-E115-4675-BF2E-D4C4DEDF442C}" destId="{00BB4E45-D3BC-47D6-B342-DC7EF52DE74B}" srcOrd="0" destOrd="0" presId="urn:microsoft.com/office/officeart/2005/8/layout/chevron2"/>
    <dgm:cxn modelId="{4FD7C8D2-0F5D-4F87-862F-74345E99215B}" srcId="{CC84A5C9-B30D-4060-AD02-E17652B9D3BF}" destId="{576FD803-E115-4675-BF2E-D4C4DEDF442C}" srcOrd="0" destOrd="0" parTransId="{C2E1F824-3F4C-4999-8B23-D248EB3A5BC0}" sibTransId="{6592DD14-4922-468A-B343-7F308C238B97}"/>
    <dgm:cxn modelId="{D5C9A0DA-7EFC-4F67-AA7D-D5DB41FFB464}" srcId="{400F3086-4031-4179-B1DD-D4F5EFB12305}" destId="{7F0A91E7-BDD8-4E70-B837-E70718DE31F4}" srcOrd="0" destOrd="0" parTransId="{652555F9-3AD5-461D-A7B5-A012F9444E57}" sibTransId="{F949F7EF-56C5-438D-B37B-72653EBE394A}"/>
    <dgm:cxn modelId="{8CCE4AE8-F1F8-4EE2-A7AF-428FF0C57F7E}" srcId="{7F0A91E7-BDD8-4E70-B837-E70718DE31F4}" destId="{DA7DECB5-3713-4A2E-9814-D58F6D6A8F2D}" srcOrd="0" destOrd="0" parTransId="{A917BA1E-FB7C-40D8-B5B0-7A96056567BA}" sibTransId="{94E643EA-15C6-40BB-9CF3-AD2952E8820C}"/>
    <dgm:cxn modelId="{106137EA-457F-468F-9740-076B159FE2A8}" srcId="{800C1E5B-49CB-4C02-8396-329577DD4A3D}" destId="{DCEF1539-3E94-4EC0-9E4E-6A711EAB0086}" srcOrd="0" destOrd="0" parTransId="{797A862F-DC4B-44A2-BBAC-75578108CD29}" sibTransId="{7F5E9FDB-9DAD-4682-A855-8C8BCD1A7168}"/>
    <dgm:cxn modelId="{DDD1D7ED-2BEF-4C61-953B-B58A7E8F5359}" srcId="{400F3086-4031-4179-B1DD-D4F5EFB12305}" destId="{5380545E-0CD5-438A-AA1A-EF55CAF7ACC5}" srcOrd="4" destOrd="0" parTransId="{BB19A56A-37D8-478D-ABC2-462B08D961D6}" sibTransId="{208BCAF6-D77C-46C0-AD81-AE942E2353A0}"/>
    <dgm:cxn modelId="{F220F4F0-BB48-439B-ACF1-FEF3AB483E6B}" type="presOf" srcId="{CC84A5C9-B30D-4060-AD02-E17652B9D3BF}" destId="{1BFB8159-6537-467E-A278-B427F8B9BCD6}" srcOrd="0" destOrd="0" presId="urn:microsoft.com/office/officeart/2005/8/layout/chevron2"/>
    <dgm:cxn modelId="{B35D32FD-7F78-4E60-9B3E-C80DACAC5E41}" srcId="{400F3086-4031-4179-B1DD-D4F5EFB12305}" destId="{CC84A5C9-B30D-4060-AD02-E17652B9D3BF}" srcOrd="3" destOrd="0" parTransId="{565D8B1C-504F-4D5B-9F9E-F546F704BB1F}" sibTransId="{F4833BB2-5E4D-4FB5-A3A8-9646E8662BC8}"/>
    <dgm:cxn modelId="{2209307B-3286-4B36-AD9C-6A4AC4E85AB5}" type="presParOf" srcId="{F4EA214F-566B-4FEA-AEBF-1FC542D01520}" destId="{D5258879-0E7A-4581-8335-CB11692DAAD9}" srcOrd="0" destOrd="0" presId="urn:microsoft.com/office/officeart/2005/8/layout/chevron2"/>
    <dgm:cxn modelId="{B2119A66-CEC6-4D58-BAB9-68D4B87D84BA}" type="presParOf" srcId="{D5258879-0E7A-4581-8335-CB11692DAAD9}" destId="{25F7BAAF-D2DC-4CA6-846B-B1E657CD63FF}" srcOrd="0" destOrd="0" presId="urn:microsoft.com/office/officeart/2005/8/layout/chevron2"/>
    <dgm:cxn modelId="{AB6961C2-1870-496A-8039-94CAC8A11518}" type="presParOf" srcId="{D5258879-0E7A-4581-8335-CB11692DAAD9}" destId="{B847ED75-A3A7-490D-83D9-7734497206C2}" srcOrd="1" destOrd="0" presId="urn:microsoft.com/office/officeart/2005/8/layout/chevron2"/>
    <dgm:cxn modelId="{8A153570-9FCE-44C7-A158-DAD8D67EFABF}" type="presParOf" srcId="{F4EA214F-566B-4FEA-AEBF-1FC542D01520}" destId="{5312D554-6AA4-49CA-B07B-0D03F2A3F3D4}" srcOrd="1" destOrd="0" presId="urn:microsoft.com/office/officeart/2005/8/layout/chevron2"/>
    <dgm:cxn modelId="{1993DCC1-E48E-455A-9474-26FD7C68F405}" type="presParOf" srcId="{F4EA214F-566B-4FEA-AEBF-1FC542D01520}" destId="{BD357086-0E2B-4E5C-A490-573FB0E82A1F}" srcOrd="2" destOrd="0" presId="urn:microsoft.com/office/officeart/2005/8/layout/chevron2"/>
    <dgm:cxn modelId="{54EC0E8A-E86B-4826-A615-C87EA2954303}" type="presParOf" srcId="{BD357086-0E2B-4E5C-A490-573FB0E82A1F}" destId="{9CBDD3DC-5351-43D2-BF26-C3021FCFC0B1}" srcOrd="0" destOrd="0" presId="urn:microsoft.com/office/officeart/2005/8/layout/chevron2"/>
    <dgm:cxn modelId="{121145DE-5B01-483A-B179-2A3BAB8BA7F2}" type="presParOf" srcId="{BD357086-0E2B-4E5C-A490-573FB0E82A1F}" destId="{E5E6E79C-001A-44E8-AC07-63639C872CCA}" srcOrd="1" destOrd="0" presId="urn:microsoft.com/office/officeart/2005/8/layout/chevron2"/>
    <dgm:cxn modelId="{AC11ACD2-451E-42B7-B917-8F5EF2F4B0E0}" type="presParOf" srcId="{F4EA214F-566B-4FEA-AEBF-1FC542D01520}" destId="{CA30AC93-B86F-49AD-8CC7-9505EBC74D2A}" srcOrd="3" destOrd="0" presId="urn:microsoft.com/office/officeart/2005/8/layout/chevron2"/>
    <dgm:cxn modelId="{CDC9EA3B-3E1F-410B-A6B2-B0F074B59F5F}" type="presParOf" srcId="{F4EA214F-566B-4FEA-AEBF-1FC542D01520}" destId="{9CA2D19F-94CC-4FC5-B639-27C0FBCB1C0F}" srcOrd="4" destOrd="0" presId="urn:microsoft.com/office/officeart/2005/8/layout/chevron2"/>
    <dgm:cxn modelId="{5FFA9ED2-745D-42FF-9D96-C5C8661F2535}" type="presParOf" srcId="{9CA2D19F-94CC-4FC5-B639-27C0FBCB1C0F}" destId="{89F9C2B7-1EAF-47DB-A8AC-4BC5403E27FF}" srcOrd="0" destOrd="0" presId="urn:microsoft.com/office/officeart/2005/8/layout/chevron2"/>
    <dgm:cxn modelId="{5F5A6C8E-398C-442A-9032-788A04A00789}" type="presParOf" srcId="{9CA2D19F-94CC-4FC5-B639-27C0FBCB1C0F}" destId="{52EB36EA-A59A-4ACF-B6BA-81CA00A351DF}" srcOrd="1" destOrd="0" presId="urn:microsoft.com/office/officeart/2005/8/layout/chevron2"/>
    <dgm:cxn modelId="{54DFAA6E-910B-4701-8299-7334A71373EA}" type="presParOf" srcId="{F4EA214F-566B-4FEA-AEBF-1FC542D01520}" destId="{C34F1B5C-9E4B-4909-894F-778A58CB714F}" srcOrd="5" destOrd="0" presId="urn:microsoft.com/office/officeart/2005/8/layout/chevron2"/>
    <dgm:cxn modelId="{801B767B-3096-44A8-92FB-FF9657E85487}" type="presParOf" srcId="{F4EA214F-566B-4FEA-AEBF-1FC542D01520}" destId="{DD80AE3F-BE7C-4CBB-A174-F7799247CBD2}" srcOrd="6" destOrd="0" presId="urn:microsoft.com/office/officeart/2005/8/layout/chevron2"/>
    <dgm:cxn modelId="{B48F54A5-D893-4809-9372-9890667C8A88}" type="presParOf" srcId="{DD80AE3F-BE7C-4CBB-A174-F7799247CBD2}" destId="{1BFB8159-6537-467E-A278-B427F8B9BCD6}" srcOrd="0" destOrd="0" presId="urn:microsoft.com/office/officeart/2005/8/layout/chevron2"/>
    <dgm:cxn modelId="{BCDB75CB-F374-4A1B-8115-986ACD4B6170}" type="presParOf" srcId="{DD80AE3F-BE7C-4CBB-A174-F7799247CBD2}" destId="{00BB4E45-D3BC-47D6-B342-DC7EF52DE74B}" srcOrd="1" destOrd="0" presId="urn:microsoft.com/office/officeart/2005/8/layout/chevron2"/>
    <dgm:cxn modelId="{2A9353E3-BAFC-406A-89EC-7B601A1DB392}" type="presParOf" srcId="{F4EA214F-566B-4FEA-AEBF-1FC542D01520}" destId="{07940658-1EB0-414A-8F58-F84DC42C8F61}" srcOrd="7" destOrd="0" presId="urn:microsoft.com/office/officeart/2005/8/layout/chevron2"/>
    <dgm:cxn modelId="{242A998A-0995-415F-9DCE-56D22CD2AC85}" type="presParOf" srcId="{F4EA214F-566B-4FEA-AEBF-1FC542D01520}" destId="{08E33FBE-5AA7-4E4B-BACD-F25540E6A8C4}" srcOrd="8" destOrd="0" presId="urn:microsoft.com/office/officeart/2005/8/layout/chevron2"/>
    <dgm:cxn modelId="{03529EF3-1968-472D-BDD0-842EDC2C8256}" type="presParOf" srcId="{08E33FBE-5AA7-4E4B-BACD-F25540E6A8C4}" destId="{12B5C3BF-F2B7-409B-9A6F-EBCBF048D635}" srcOrd="0" destOrd="0" presId="urn:microsoft.com/office/officeart/2005/8/layout/chevron2"/>
    <dgm:cxn modelId="{99ECBCAB-9FA5-4D20-B05A-0615998DBF42}" type="presParOf" srcId="{08E33FBE-5AA7-4E4B-BACD-F25540E6A8C4}" destId="{2A1973A3-9333-4ACA-A65B-61BB46552090}" srcOrd="1" destOrd="0" presId="urn:microsoft.com/office/officeart/2005/8/layout/chevron2"/>
    <dgm:cxn modelId="{6F4FEFFD-E2A9-4D9E-835B-93C66D985BE8}" type="presParOf" srcId="{F4EA214F-566B-4FEA-AEBF-1FC542D01520}" destId="{D526AB13-9525-4E58-BECF-6010BE252240}" srcOrd="9" destOrd="0" presId="urn:microsoft.com/office/officeart/2005/8/layout/chevron2"/>
    <dgm:cxn modelId="{C2004441-2525-4910-A5A2-33879DF86870}" type="presParOf" srcId="{F4EA214F-566B-4FEA-AEBF-1FC542D01520}" destId="{2DABF46A-64AC-4895-B5E1-68AC01E1D3F7}" srcOrd="10" destOrd="0" presId="urn:microsoft.com/office/officeart/2005/8/layout/chevron2"/>
    <dgm:cxn modelId="{0CE11AC6-352C-400D-95C8-D80544125474}" type="presParOf" srcId="{2DABF46A-64AC-4895-B5E1-68AC01E1D3F7}" destId="{D52C206C-B57C-4C3D-84E0-34882B0F9031}" srcOrd="0" destOrd="0" presId="urn:microsoft.com/office/officeart/2005/8/layout/chevron2"/>
    <dgm:cxn modelId="{1939C435-47E4-4C53-BCEA-D89DB8C6971F}" type="presParOf" srcId="{2DABF46A-64AC-4895-B5E1-68AC01E1D3F7}" destId="{4C05DC98-0504-43E4-85C5-678208DD922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F7BAAF-D2DC-4CA6-846B-B1E657CD63FF}">
      <dsp:nvSpPr>
        <dsp:cNvPr id="0" name=""/>
        <dsp:cNvSpPr/>
      </dsp:nvSpPr>
      <dsp:spPr>
        <a:xfrm rot="5400000">
          <a:off x="-130400" y="135067"/>
          <a:ext cx="869338" cy="608536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 rtl="0">
            <a:lnSpc>
              <a:spcPct val="12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b="1" kern="1200" dirty="0">
              <a:latin typeface="Arial" panose="020B0604020202020204"/>
            </a:rPr>
            <a:t>1</a:t>
          </a:r>
          <a:endParaRPr lang="de-DE" sz="2800" b="1" kern="1200" dirty="0"/>
        </a:p>
      </dsp:txBody>
      <dsp:txXfrm rot="-5400000">
        <a:off x="1" y="308934"/>
        <a:ext cx="608536" cy="260802"/>
      </dsp:txXfrm>
    </dsp:sp>
    <dsp:sp modelId="{B847ED75-A3A7-490D-83D9-7734497206C2}">
      <dsp:nvSpPr>
        <dsp:cNvPr id="0" name=""/>
        <dsp:cNvSpPr/>
      </dsp:nvSpPr>
      <dsp:spPr>
        <a:xfrm rot="5400000">
          <a:off x="5242078" y="-4628875"/>
          <a:ext cx="565366" cy="9832451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just" defTabSz="1244600">
            <a:lnSpc>
              <a:spcPct val="12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IN" sz="2800" kern="1200">
              <a:latin typeface="Arial" panose="020B0604020202020204"/>
            </a:rPr>
            <a:t>Problem &amp; Ziele</a:t>
          </a:r>
          <a:endParaRPr lang="de-DE" sz="2800" kern="1200" dirty="0">
            <a:latin typeface="Arial" panose="020B0604020202020204"/>
          </a:endParaRPr>
        </a:p>
      </dsp:txBody>
      <dsp:txXfrm rot="-5400000">
        <a:off x="608536" y="32266"/>
        <a:ext cx="9804852" cy="510168"/>
      </dsp:txXfrm>
    </dsp:sp>
    <dsp:sp modelId="{9CBDD3DC-5351-43D2-BF26-C3021FCFC0B1}">
      <dsp:nvSpPr>
        <dsp:cNvPr id="0" name=""/>
        <dsp:cNvSpPr/>
      </dsp:nvSpPr>
      <dsp:spPr>
        <a:xfrm rot="5400000">
          <a:off x="-130400" y="906023"/>
          <a:ext cx="869338" cy="608536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 rtl="0">
            <a:lnSpc>
              <a:spcPct val="12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latin typeface="Arial"/>
              <a:ea typeface="Calibri"/>
              <a:cs typeface="Arial"/>
            </a:rPr>
            <a:t>2</a:t>
          </a:r>
          <a:endParaRPr lang="en-US" sz="2800" b="1" kern="1200" dirty="0"/>
        </a:p>
      </dsp:txBody>
      <dsp:txXfrm rot="-5400000">
        <a:off x="1" y="1079890"/>
        <a:ext cx="608536" cy="260802"/>
      </dsp:txXfrm>
    </dsp:sp>
    <dsp:sp modelId="{E5E6E79C-001A-44E8-AC07-63639C872CCA}">
      <dsp:nvSpPr>
        <dsp:cNvPr id="0" name=""/>
        <dsp:cNvSpPr/>
      </dsp:nvSpPr>
      <dsp:spPr>
        <a:xfrm rot="5400000">
          <a:off x="5242227" y="-3858067"/>
          <a:ext cx="565069" cy="9832451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just" defTabSz="1244600">
            <a:lnSpc>
              <a:spcPct val="12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US" sz="2800" kern="1200">
              <a:latin typeface="Arial"/>
              <a:ea typeface="Calibri"/>
              <a:cs typeface="Arial"/>
            </a:rPr>
            <a:t>Architektur – Offline &amp; Online</a:t>
          </a:r>
          <a:endParaRPr lang="en-US" sz="2800" kern="1200" dirty="0">
            <a:ea typeface="Calibri"/>
          </a:endParaRPr>
        </a:p>
      </dsp:txBody>
      <dsp:txXfrm rot="-5400000">
        <a:off x="608536" y="803208"/>
        <a:ext cx="9804867" cy="509901"/>
      </dsp:txXfrm>
    </dsp:sp>
    <dsp:sp modelId="{89F9C2B7-1EAF-47DB-A8AC-4BC5403E27FF}">
      <dsp:nvSpPr>
        <dsp:cNvPr id="0" name=""/>
        <dsp:cNvSpPr/>
      </dsp:nvSpPr>
      <dsp:spPr>
        <a:xfrm rot="5400000">
          <a:off x="-130400" y="1676980"/>
          <a:ext cx="869338" cy="608536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>
            <a:lnSpc>
              <a:spcPct val="12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latin typeface="Arial" panose="020B0604020202020204"/>
              <a:ea typeface="Calibri"/>
            </a:rPr>
            <a:t>3</a:t>
          </a:r>
          <a:endParaRPr lang="en-US" sz="2800" b="1" kern="1200" dirty="0"/>
        </a:p>
      </dsp:txBody>
      <dsp:txXfrm rot="-5400000">
        <a:off x="1" y="1850847"/>
        <a:ext cx="608536" cy="260802"/>
      </dsp:txXfrm>
    </dsp:sp>
    <dsp:sp modelId="{52EB36EA-A59A-4ACF-B6BA-81CA00A351DF}">
      <dsp:nvSpPr>
        <dsp:cNvPr id="0" name=""/>
        <dsp:cNvSpPr/>
      </dsp:nvSpPr>
      <dsp:spPr>
        <a:xfrm rot="5400000">
          <a:off x="5242227" y="-3087111"/>
          <a:ext cx="565069" cy="9832451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just" defTabSz="1244600">
            <a:lnSpc>
              <a:spcPct val="12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IN" sz="2800" kern="1200">
              <a:latin typeface="Arial" panose="020B0604020202020204"/>
            </a:rPr>
            <a:t>Tech Stack</a:t>
          </a:r>
          <a:endParaRPr lang="en-US" sz="2800" kern="1200" dirty="0"/>
        </a:p>
      </dsp:txBody>
      <dsp:txXfrm rot="-5400000">
        <a:off x="608536" y="1574164"/>
        <a:ext cx="9804867" cy="509901"/>
      </dsp:txXfrm>
    </dsp:sp>
    <dsp:sp modelId="{1BFB8159-6537-467E-A278-B427F8B9BCD6}">
      <dsp:nvSpPr>
        <dsp:cNvPr id="0" name=""/>
        <dsp:cNvSpPr/>
      </dsp:nvSpPr>
      <dsp:spPr>
        <a:xfrm rot="5400000">
          <a:off x="-130400" y="2447936"/>
          <a:ext cx="869338" cy="608536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>
            <a:lnSpc>
              <a:spcPct val="12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latin typeface="Arial" panose="020B0604020202020204"/>
            </a:rPr>
            <a:t>4</a:t>
          </a:r>
          <a:endParaRPr lang="en-US" sz="2800" b="1" kern="1200" dirty="0"/>
        </a:p>
      </dsp:txBody>
      <dsp:txXfrm rot="-5400000">
        <a:off x="1" y="2621803"/>
        <a:ext cx="608536" cy="260802"/>
      </dsp:txXfrm>
    </dsp:sp>
    <dsp:sp modelId="{00BB4E45-D3BC-47D6-B342-DC7EF52DE74B}">
      <dsp:nvSpPr>
        <dsp:cNvPr id="0" name=""/>
        <dsp:cNvSpPr/>
      </dsp:nvSpPr>
      <dsp:spPr>
        <a:xfrm rot="5400000">
          <a:off x="5242227" y="-2316155"/>
          <a:ext cx="565069" cy="9832451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just" defTabSz="1244600">
            <a:lnSpc>
              <a:spcPct val="12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IN" sz="2800" kern="1200">
              <a:latin typeface="Arial" panose="020B0604020202020204"/>
            </a:rPr>
            <a:t>Demo</a:t>
          </a:r>
          <a:endParaRPr lang="en-US" sz="2800" kern="1200" dirty="0"/>
        </a:p>
      </dsp:txBody>
      <dsp:txXfrm rot="-5400000">
        <a:off x="608536" y="2345120"/>
        <a:ext cx="9804867" cy="509901"/>
      </dsp:txXfrm>
    </dsp:sp>
    <dsp:sp modelId="{12B5C3BF-F2B7-409B-9A6F-EBCBF048D635}">
      <dsp:nvSpPr>
        <dsp:cNvPr id="0" name=""/>
        <dsp:cNvSpPr/>
      </dsp:nvSpPr>
      <dsp:spPr>
        <a:xfrm rot="5400000">
          <a:off x="-130400" y="3218892"/>
          <a:ext cx="869338" cy="608536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>
            <a:lnSpc>
              <a:spcPct val="12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latin typeface="Arial" panose="020B0604020202020204"/>
            </a:rPr>
            <a:t>5</a:t>
          </a:r>
          <a:endParaRPr lang="en-US" sz="2800" b="1" kern="1200" dirty="0"/>
        </a:p>
      </dsp:txBody>
      <dsp:txXfrm rot="-5400000">
        <a:off x="1" y="3392759"/>
        <a:ext cx="608536" cy="260802"/>
      </dsp:txXfrm>
    </dsp:sp>
    <dsp:sp modelId="{2A1973A3-9333-4ACA-A65B-61BB46552090}">
      <dsp:nvSpPr>
        <dsp:cNvPr id="0" name=""/>
        <dsp:cNvSpPr/>
      </dsp:nvSpPr>
      <dsp:spPr>
        <a:xfrm rot="5400000">
          <a:off x="5242227" y="-1545199"/>
          <a:ext cx="565069" cy="9832451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just" defTabSz="1244600">
            <a:lnSpc>
              <a:spcPct val="12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IN" sz="2800" kern="1200">
              <a:latin typeface="Arial" panose="020B0604020202020204"/>
            </a:rPr>
            <a:t>Zukunftsperspektiven</a:t>
          </a:r>
          <a:endParaRPr lang="en-US" sz="2800" kern="1200" dirty="0"/>
        </a:p>
      </dsp:txBody>
      <dsp:txXfrm rot="-5400000">
        <a:off x="608536" y="3116076"/>
        <a:ext cx="9804867" cy="509901"/>
      </dsp:txXfrm>
    </dsp:sp>
    <dsp:sp modelId="{D52C206C-B57C-4C3D-84E0-34882B0F9031}">
      <dsp:nvSpPr>
        <dsp:cNvPr id="0" name=""/>
        <dsp:cNvSpPr/>
      </dsp:nvSpPr>
      <dsp:spPr>
        <a:xfrm rot="5400000">
          <a:off x="-130400" y="3989848"/>
          <a:ext cx="869338" cy="608536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/>
            <a:t>6</a:t>
          </a:r>
          <a:endParaRPr lang="en-US" sz="1800" b="1" kern="1200" dirty="0"/>
        </a:p>
      </dsp:txBody>
      <dsp:txXfrm rot="-5400000">
        <a:off x="1" y="4163715"/>
        <a:ext cx="608536" cy="260802"/>
      </dsp:txXfrm>
    </dsp:sp>
    <dsp:sp modelId="{4C05DC98-0504-43E4-85C5-678208DD9226}">
      <dsp:nvSpPr>
        <dsp:cNvPr id="0" name=""/>
        <dsp:cNvSpPr/>
      </dsp:nvSpPr>
      <dsp:spPr>
        <a:xfrm rot="5400000">
          <a:off x="5242227" y="-774243"/>
          <a:ext cx="565069" cy="9832451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IN" sz="2800" kern="1200">
              <a:latin typeface="Arial" panose="020B0604020202020204"/>
            </a:rPr>
            <a:t>Beliebte GenAI-Bibliotheken</a:t>
          </a:r>
          <a:endParaRPr lang="en-US" sz="2800" kern="1200" dirty="0"/>
        </a:p>
      </dsp:txBody>
      <dsp:txXfrm rot="-5400000">
        <a:off x="608536" y="3887032"/>
        <a:ext cx="9804867" cy="50990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820E2-C5B0-C94F-BB9D-7D44B72CB4F7}" type="datetimeFigureOut">
              <a:t>12/3/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46829-E818-5348-BB73-2146BF0C3B32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3001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EB27-5DB9-4776-AC7D-5FC4C268240D}" type="datetimeFigureOut">
              <a:rPr lang="de-DE" smtClean="0"/>
              <a:t>03.1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2F7FA-3984-4F9D-BF36-30DAB3280DB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47522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allo zusammen, ich heiße Adhitya und werde heute mein Projekt mit dem Titel vorstellen. Schauen wir uns zunächst den Inhalt a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096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8639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Wir haben 5 schöne Inhalte, die wir durchgehen können, und ohne weitere Umschweife beginnen wir mit Motivation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97052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Offline (keine externen APIs), Deutsch, geringer RAM-SpeicherbedarfNur fundierte Antworten; klare QuellenangabenSicherheitsvorkehrungen für Notfälle und Fälle außerhalb des Anwendungsbereichs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44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8448C2-CCFD-15BF-2947-8DA11F9A0E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04D12DD-3DDF-77C6-6318-B172809F96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9DEE55-D9BA-FDED-7CDA-A6DEDDFE72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605606-7B7A-60A0-CCFC-555D853946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61051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3A8855-AAF3-698C-0CF4-748E267283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09E54E-4B0F-265C-F632-036575CBFF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37ABF9-DAC1-E94D-2FA8-531453AA5F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8639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FCE3CF-3962-2FF6-F3A0-3BD2E8116C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5860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6C8A2A-5F6D-6CE8-756E-28B293AC0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265F79-AEBF-FA30-07BE-6DA9B9532D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4B7D2D-6DAD-4BB3-FFF5-3E8A28BF13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8639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07403C-16C5-DB85-94E8-DC1CFE971A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0505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787EBF-E74B-C01F-1424-4BF391093F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DADB6D0-F717-4EDC-BB93-7958324BF4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DC41A2-244B-F030-FFF1-D30F823135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6D3803-6FAB-5FED-E391-49F48F0CF6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14559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8706D0-4916-B867-420D-68A3DF9BB2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BB8614-AAC5-E09B-ADB3-3896DD54C3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E604F8-0587-4FE0-C98E-D28056C444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C57EC3-9C52-0171-5F50-244768BEB2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5695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>
            <a:fillRect/>
          </a:stretch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67ECDBC6-A0EC-4C5B-9847-67069DDD4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22" name="Foliennummernplatzhalter 4">
            <a:extLst>
              <a:ext uri="{FF2B5EF4-FFF2-40B4-BE49-F238E27FC236}">
                <a16:creationId xmlns:a16="http://schemas.microsoft.com/office/drawing/2014/main" id="{E75DEFE7-5879-4104-847F-0952E148F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D5E4C93-51C5-4597-8CA9-B2334CFA6B47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/>
              <a:t>Subtitle</a:t>
            </a:r>
          </a:p>
          <a:p>
            <a:r>
              <a:rPr lang="en-US"/>
              <a:t>Name </a:t>
            </a:r>
            <a:r>
              <a:rPr lang="en-US" dirty="0"/>
              <a:t>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87101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A33A1-DD45-4768-8D42-1CCED7E8F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E6FD7-1A1D-4077-9538-0A88A20D5B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104F3-786C-460F-AEEF-DFFB798911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318C5E-89FA-4ECC-A117-7F7FDE7986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65" y="1295399"/>
            <a:ext cx="324017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9585600-7B4A-4FD9-B2AF-A86376EA3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064" y="1295399"/>
            <a:ext cx="3240087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EB46638-66D7-4118-9E58-EE2C8D6B85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40377" y="1295399"/>
            <a:ext cx="3240086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540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8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pos="4649" userDrawn="1">
          <p15:clr>
            <a:srgbClr val="FBAE40"/>
          </p15:clr>
        </p15:guide>
        <p15:guide id="4" pos="48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A34D6C70-9B9F-440C-9118-8C886093B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1520488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backgroun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AEDBF7-EAD7-4A97-BAF0-B9AC481F7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4078843"/>
            <a:ext cx="10440988" cy="890032"/>
          </a:xfr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6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 Short Statemen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AD1742-691D-4813-997E-E3A9F53D8E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4252BC-C4CD-4D6D-B7F8-1B4C2665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4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0E58B-D9C5-D545-F392-6A749358E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67F445-F1C5-9593-85CF-2EA5309B54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5CF6D4-ED2F-FA72-F5E3-AA3B23D8D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B3E488-BE3D-4178-890C-A592CAF79100}" type="datetimeFigureOut">
              <a:rPr lang="en-IN" smtClean="0"/>
              <a:t>03-12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22FC26-5E92-9FED-EAFD-9A17ADE5F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561C2E-8156-CE60-D2B2-7FD1DD2E0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75B1-AAA2-448D-AAB8-5AB9F2AD54B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9424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" r="144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83318C4-BD94-43DC-9006-08A868883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F0656A1-F47D-4352-8B2B-0ACAE4E82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AFAD9856-3C3B-41AA-8777-BA13CE8222E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A200E6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/>
              <a:t>Subtitle</a:t>
            </a:r>
          </a:p>
          <a:p>
            <a:r>
              <a:rPr lang="en-US"/>
              <a:t>Name </a:t>
            </a:r>
            <a:r>
              <a:rPr lang="en-US" dirty="0"/>
              <a:t>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409937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D3F5FF"/>
                </a:solidFill>
              </a:defRPr>
            </a:lvl1pPr>
          </a:lstStyle>
          <a:p>
            <a:r>
              <a:rPr lang="en-US"/>
              <a:t>Insert Presentation Title</a:t>
            </a:r>
            <a:endParaRPr lang="en-US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B9561BF-FEB5-4CA5-813F-2611C0CB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B849EDEA-24A2-4C2D-A4BF-FD512C50E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B32981B4-3BC1-47D9-9ADF-F4F3B2058AF2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/>
              <a:t>Subtitle</a:t>
            </a:r>
          </a:p>
          <a:p>
            <a:r>
              <a:rPr lang="en-US"/>
              <a:t>Name </a:t>
            </a:r>
            <a:r>
              <a:rPr lang="en-US" dirty="0"/>
              <a:t>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85624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81" userDrawn="1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24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906D935-205A-46E0-B7F7-AE8CD546FB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452B407-9BA3-43DF-B838-3AB187064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6F00AF9B-1F52-4E4D-ABDB-C06334A65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207042-88FC-4C4A-8B3D-30F79C7453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/>
              <a:t>Subtitle</a:t>
            </a:r>
          </a:p>
          <a:p>
            <a:r>
              <a:rPr lang="en-US"/>
              <a:t>Name </a:t>
            </a:r>
            <a:r>
              <a:rPr lang="en-US" dirty="0"/>
              <a:t>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7207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 userDrawn="1">
          <p15:clr>
            <a:srgbClr val="FBAE40"/>
          </p15:clr>
        </p15:guide>
        <p15:guide id="4" orient="horz" pos="1701" userDrawn="1">
          <p15:clr>
            <a:srgbClr val="FBAE40"/>
          </p15:clr>
        </p15:guide>
        <p15:guide id="5" pos="4082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" y="-273"/>
            <a:ext cx="11520796" cy="648044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60414FB-02DF-445C-8438-D6E81B5F1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DD142A-4252-487F-A3DD-82A7F3A7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17809BC-128B-4C78-873A-1EA2DD3BA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C044AB96-AD92-43A5-8A53-41AB5D56E6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1446EB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/>
              <a:t>Subtitle</a:t>
            </a:r>
          </a:p>
          <a:p>
            <a:r>
              <a:rPr lang="en-US"/>
              <a:t>Name </a:t>
            </a:r>
            <a:r>
              <a:rPr lang="en-US" dirty="0"/>
              <a:t>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1348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>
          <p15:clr>
            <a:srgbClr val="FBAE40"/>
          </p15:clr>
        </p15:guide>
        <p15:guide id="4" orient="horz" pos="1701">
          <p15:clr>
            <a:srgbClr val="FBAE40"/>
          </p15:clr>
        </p15:guide>
        <p15:guide id="5" pos="4082">
          <p15:clr>
            <a:srgbClr val="FBAE40"/>
          </p15:clr>
        </p15:guide>
        <p15:guide id="6" pos="43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359767"/>
            <a:ext cx="10440988" cy="361875"/>
          </a:xfrm>
        </p:spPr>
        <p:txBody>
          <a:bodyPr vert="horz" wrap="square" lIns="0" tIns="3600" rIns="0" bIns="0" rtlCol="0" anchor="t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IAV  04/2025  Department Code  Initials  Status: draft, confidentia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D6C52D8-AF7F-4297-9A35-2617B7FF18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1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2" userDrawn="1">
          <p15:clr>
            <a:srgbClr val="FBAE40"/>
          </p15:clr>
        </p15:guide>
        <p15:guide id="8" pos="3515" userDrawn="1">
          <p15:clr>
            <a:srgbClr val="FBAE40"/>
          </p15:clr>
        </p15:guide>
        <p15:guide id="9" pos="2608" userDrawn="1">
          <p15:clr>
            <a:srgbClr val="FBAE40"/>
          </p15:clr>
        </p15:guide>
        <p15:guide id="10" pos="2381" userDrawn="1">
          <p15:clr>
            <a:srgbClr val="FBAE40"/>
          </p15:clr>
        </p15:guide>
        <p15:guide id="11" pos="4876" userDrawn="1">
          <p15:clr>
            <a:srgbClr val="FBAE40"/>
          </p15:clr>
        </p15:guide>
        <p15:guide id="12" pos="464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Heading (two lines max)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421926F-2EB1-C877-20AA-E5F4D23571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39750" y="1295401"/>
            <a:ext cx="5040886" cy="453707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leve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0FDBB940-6E97-8B7D-AF9F-66350442336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40424" y="1295400"/>
            <a:ext cx="5040313" cy="45370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8B86E73B-F9A7-5386-74EA-107A4535E9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10" name="Foliennummernplatzhalter 4">
            <a:extLst>
              <a:ext uri="{FF2B5EF4-FFF2-40B4-BE49-F238E27FC236}">
                <a16:creationId xmlns:a16="http://schemas.microsoft.com/office/drawing/2014/main" id="{498794BA-817E-B478-097E-6C68EE007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424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>
          <p15:clr>
            <a:srgbClr val="FBAE40"/>
          </p15:clr>
        </p15:guide>
        <p15:guide id="2" pos="374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82473-2EB6-4C66-A028-07FE06313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664" y="359767"/>
            <a:ext cx="10441074" cy="36270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Heading (two lines max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BDFBA-5C9C-4F2E-AD48-7F5032FDCB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C1E099-4B35-4DA1-B9D7-3E7E13746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5E029D1-874B-411C-9322-9E92EED7A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8280400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7530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83" userDrawn="1">
          <p15:clr>
            <a:srgbClr val="FBAE40"/>
          </p15:clr>
        </p15:guide>
        <p15:guide id="2" pos="555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D20B1-22D9-42BB-8120-96895CF364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135E0-6174-4B68-8FAF-2CD7F3705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B24D9A6-0E7F-471A-BD30-D9B90EF27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3F85D02-DB8C-41B1-88A9-2471D83B5C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0425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28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 userDrawn="1">
          <p15:clr>
            <a:srgbClr val="FBAE40"/>
          </p15:clr>
        </p15:guide>
        <p15:guide id="2" pos="374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1285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01" imgH="502" progId="TCLayout.ActiveDocument.1">
                  <p:embed/>
                </p:oleObj>
              </mc:Choice>
              <mc:Fallback>
                <p:oleObj name="think-cell Folie" r:id="rId15" imgW="501" imgH="50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5">
            <a:extLst>
              <a:ext uri="{FF2B5EF4-FFF2-40B4-BE49-F238E27FC236}">
                <a16:creationId xmlns:a16="http://schemas.microsoft.com/office/drawing/2014/main" id="{215D79D1-0F07-F54D-A97D-0DF2C2639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BAD58-EA1D-0646-BB22-950E4D130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0" y="1295869"/>
            <a:ext cx="10441074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18D1A-B42F-F947-9EA4-02E983BA8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17BA7A-7483-0F40-B2B2-407F1D108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4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  <p:sldLayoutId id="2147483763" r:id="rId7"/>
    <p:sldLayoutId id="2147483752" r:id="rId8"/>
    <p:sldLayoutId id="2147483755" r:id="rId9"/>
    <p:sldLayoutId id="2147483753" r:id="rId10"/>
    <p:sldLayoutId id="2147483761" r:id="rId11"/>
    <p:sldLayoutId id="2147483764" r:id="rId12"/>
  </p:sldLayoutIdLst>
  <p:hf hdr="0" dt="0"/>
  <p:txStyles>
    <p:titleStyle>
      <a:lvl1pPr algn="l" defTabSz="863995" rtl="0" eaLnBrk="1" latinLnBrk="0" hangingPunct="1">
        <a:lnSpc>
          <a:spcPct val="97000"/>
        </a:lnSpc>
        <a:spcBef>
          <a:spcPct val="0"/>
        </a:spcBef>
        <a:spcAft>
          <a:spcPts val="850"/>
        </a:spcAft>
        <a:buNone/>
        <a:defRPr sz="2400" b="1" kern="1200">
          <a:solidFill>
            <a:schemeClr val="tx1"/>
          </a:solidFill>
          <a:latin typeface="+mj-lt"/>
          <a:ea typeface="Aktiv Grotesk" panose="020B0504020202020204" pitchFamily="34" charset="0"/>
          <a:cs typeface="Aktiv Grotesk" panose="020B0504020202020204" pitchFamily="34" charset="0"/>
        </a:defRPr>
      </a:lvl1pPr>
    </p:titleStyle>
    <p:bodyStyle>
      <a:lvl1pPr marL="18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1pPr>
      <a:lvl2pPr marL="36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2pPr>
      <a:lvl3pPr marL="540000" indent="-179388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3pPr>
      <a:lvl4pPr marL="72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4pPr>
      <a:lvl5pPr marL="90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5pPr>
      <a:lvl6pPr marL="2375986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84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81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79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95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93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9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8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84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82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8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orient="horz" pos="3674" userDrawn="1">
          <p15:clr>
            <a:srgbClr val="F26B43"/>
          </p15:clr>
        </p15:guide>
        <p15:guide id="3" pos="6917" userDrawn="1">
          <p15:clr>
            <a:srgbClr val="F26B43"/>
          </p15:clr>
        </p15:guide>
        <p15:guide id="4" orient="horz" pos="227" userDrawn="1">
          <p15:clr>
            <a:srgbClr val="F26B43"/>
          </p15:clr>
        </p15:guide>
        <p15:guide id="5" orient="horz" pos="59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47">
            <a:extLst>
              <a:ext uri="{FF2B5EF4-FFF2-40B4-BE49-F238E27FC236}">
                <a16:creationId xmlns:a16="http://schemas.microsoft.com/office/drawing/2014/main" id="{9DF01F17-F9D2-470C-98BE-243CD5ED05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750" y="2976293"/>
            <a:ext cx="8280000" cy="803854"/>
          </a:xfrm>
        </p:spPr>
        <p:txBody>
          <a:bodyPr/>
          <a:lstStyle/>
          <a:p>
            <a:r>
              <a:rPr lang="de-DE"/>
              <a:t>Offline-Medizin-Chatbot mit Retrieval-Augmented Generation (RAG)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608852-4567-4AF1-89B4-7879BA4F3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9E349357-E0E5-4F4E-9B42-94751C2C8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F2D4C992-6263-44EE-BBDD-FD2201250A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493277"/>
          </a:xfrm>
        </p:spPr>
        <p:txBody>
          <a:bodyPr/>
          <a:lstStyle/>
          <a:p>
            <a:r>
              <a:rPr lang="en-US" dirty="0"/>
              <a:t>Adhitya </a:t>
            </a:r>
            <a:r>
              <a:rPr lang="en-US"/>
              <a:t>Ramachandran Madhukar</a:t>
            </a:r>
          </a:p>
          <a:p>
            <a:r>
              <a:rPr lang="en-US"/>
              <a:t>01.11.202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9914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058527-63E6-CE8C-C11C-F214FDFA8A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4C5F3FB-A6C2-A36E-C22E-54659A87FCA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ontact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545CB46-9B69-77DC-58CF-D0D4460EC0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1F3E279-EAE4-E50C-183F-21F207C0B3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5FF54D4-4B1A-855D-1AE8-4BCB3AE49BB9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1268874"/>
          </a:xfrm>
        </p:spPr>
        <p:txBody>
          <a:bodyPr/>
          <a:lstStyle/>
          <a:p>
            <a:r>
              <a:rPr lang="en-US" dirty="0"/>
              <a:t>Adhitya </a:t>
            </a:r>
            <a:r>
              <a:rPr lang="en-US"/>
              <a:t>Ramachandran Madhukar</a:t>
            </a:r>
          </a:p>
          <a:p>
            <a:r>
              <a:rPr lang="en-US"/>
              <a:t>adhitya.germany@gmail.com</a:t>
            </a:r>
          </a:p>
          <a:p>
            <a:r>
              <a:rPr lang="en-US"/>
              <a:t>Phone +49 1525 1324313</a:t>
            </a:r>
          </a:p>
          <a:p>
            <a:r>
              <a:rPr lang="en-US"/>
              <a:t>Hugo-Luther-Straße 56</a:t>
            </a:r>
          </a:p>
          <a:p>
            <a:r>
              <a:rPr lang="en-US"/>
              <a:t>Braunschweig, Niedersachsen, D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0537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22F56-1864-1DCA-0DB3-BD3C6F036E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939E97-B049-E5F6-22E5-9B9982529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Chatbot Architectur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20F2891-C6CA-F2F3-C330-EC85BFB22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640363-BF84-CF39-D39B-BDFE34C09962}"/>
              </a:ext>
            </a:extLst>
          </p:cNvPr>
          <p:cNvSpPr/>
          <p:nvPr/>
        </p:nvSpPr>
        <p:spPr>
          <a:xfrm>
            <a:off x="539664" y="933996"/>
            <a:ext cx="1764196" cy="72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en-IN" sz="1800" b="1"/>
              <a:t>Data (FAQ+ PDF)</a:t>
            </a:r>
            <a:endParaRPr lang="en-IN" sz="1800" b="1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A2CF7EB-ECFE-2583-8CBC-278598610483}"/>
              </a:ext>
            </a:extLst>
          </p:cNvPr>
          <p:cNvSpPr/>
          <p:nvPr/>
        </p:nvSpPr>
        <p:spPr>
          <a:xfrm>
            <a:off x="3023940" y="933996"/>
            <a:ext cx="2289844" cy="72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en-IN" sz="1800" b="1"/>
              <a:t>Ingestion (Fetch + Clean + chunk)</a:t>
            </a:r>
            <a:endParaRPr lang="en-IN" sz="1800" b="1" dirty="0" err="1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EA3E524-FD01-F4C7-C3F6-3187BF4D7DC8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303860" y="1294036"/>
            <a:ext cx="720080" cy="0"/>
          </a:xfrm>
          <a:prstGeom prst="straightConnector1">
            <a:avLst/>
          </a:prstGeom>
          <a:ln w="254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F42AB7D3-2206-A1CE-0D09-F34B0BE8BC81}"/>
              </a:ext>
            </a:extLst>
          </p:cNvPr>
          <p:cNvSpPr/>
          <p:nvPr/>
        </p:nvSpPr>
        <p:spPr>
          <a:xfrm>
            <a:off x="6033864" y="933996"/>
            <a:ext cx="1764196" cy="72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en-IN" sz="1800" b="1"/>
              <a:t>Embeddings (BGE-M3)</a:t>
            </a:r>
            <a:endParaRPr lang="en-IN" sz="1800" b="1" dirty="0" err="1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44D6182-C0A0-FB8C-CCE0-96FEC02029EC}"/>
              </a:ext>
            </a:extLst>
          </p:cNvPr>
          <p:cNvSpPr/>
          <p:nvPr/>
        </p:nvSpPr>
        <p:spPr>
          <a:xfrm>
            <a:off x="8518140" y="933996"/>
            <a:ext cx="1764196" cy="72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en-IN" sz="1800" b="1"/>
              <a:t>Vector DB (Chroma DB)</a:t>
            </a:r>
            <a:endParaRPr lang="en-IN" sz="1800" b="1" dirty="0" err="1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D1D498-6DAB-5F2D-0DB7-837DFFCD8F99}"/>
              </a:ext>
            </a:extLst>
          </p:cNvPr>
          <p:cNvSpPr/>
          <p:nvPr/>
        </p:nvSpPr>
        <p:spPr>
          <a:xfrm>
            <a:off x="8192460" y="2447997"/>
            <a:ext cx="2089876" cy="122413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en-IN" sz="1800" b="1"/>
              <a:t>Hybrid Retrieval (BM 25 Chunks + Dense DBs+ Ensemble )</a:t>
            </a:r>
            <a:endParaRPr lang="en-IN" sz="1800" b="1" dirty="0" err="1"/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5A93820-F46B-12DF-BCB4-39ABF52BC1A8}"/>
              </a:ext>
            </a:extLst>
          </p:cNvPr>
          <p:cNvCxnSpPr>
            <a:stCxn id="10" idx="3"/>
            <a:endCxn id="44" idx="1"/>
          </p:cNvCxnSpPr>
          <p:nvPr/>
        </p:nvCxnSpPr>
        <p:spPr>
          <a:xfrm>
            <a:off x="5313784" y="1294036"/>
            <a:ext cx="720080" cy="0"/>
          </a:xfrm>
          <a:prstGeom prst="straightConnector1">
            <a:avLst/>
          </a:prstGeom>
          <a:ln w="254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452F8A4E-3FFD-CED4-00CE-C9008C87F775}"/>
              </a:ext>
            </a:extLst>
          </p:cNvPr>
          <p:cNvCxnSpPr>
            <a:stCxn id="44" idx="3"/>
            <a:endCxn id="45" idx="1"/>
          </p:cNvCxnSpPr>
          <p:nvPr/>
        </p:nvCxnSpPr>
        <p:spPr>
          <a:xfrm>
            <a:off x="7798060" y="1294036"/>
            <a:ext cx="720080" cy="0"/>
          </a:xfrm>
          <a:prstGeom prst="straightConnector1">
            <a:avLst/>
          </a:prstGeom>
          <a:ln w="254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49883007-7AAD-3021-8D80-135C3EA5622A}"/>
              </a:ext>
            </a:extLst>
          </p:cNvPr>
          <p:cNvCxnSpPr>
            <a:cxnSpLocks/>
            <a:stCxn id="45" idx="2"/>
            <a:endCxn id="46" idx="0"/>
          </p:cNvCxnSpPr>
          <p:nvPr/>
        </p:nvCxnSpPr>
        <p:spPr>
          <a:xfrm rot="5400000">
            <a:off x="8921858" y="1969616"/>
            <a:ext cx="793921" cy="162840"/>
          </a:xfrm>
          <a:prstGeom prst="bentConnector3">
            <a:avLst/>
          </a:prstGeom>
          <a:ln w="254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450836A2-FB46-B7DE-6B7D-B8EEF65708DC}"/>
              </a:ext>
            </a:extLst>
          </p:cNvPr>
          <p:cNvSpPr/>
          <p:nvPr/>
        </p:nvSpPr>
        <p:spPr>
          <a:xfrm>
            <a:off x="5827030" y="2700027"/>
            <a:ext cx="1572931" cy="72007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en-IN" sz="1800" b="1"/>
              <a:t>Reranker (BGE)</a:t>
            </a:r>
            <a:endParaRPr lang="en-IN" sz="1800" b="1" dirty="0" err="1"/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05C9E9A0-D01F-63D8-7E74-638C8CC7A9C0}"/>
              </a:ext>
            </a:extLst>
          </p:cNvPr>
          <p:cNvCxnSpPr>
            <a:cxnSpLocks/>
            <a:stCxn id="46" idx="1"/>
            <a:endCxn id="54" idx="3"/>
          </p:cNvCxnSpPr>
          <p:nvPr/>
        </p:nvCxnSpPr>
        <p:spPr>
          <a:xfrm flipH="1">
            <a:off x="7399961" y="3060065"/>
            <a:ext cx="792499" cy="2"/>
          </a:xfrm>
          <a:prstGeom prst="straightConnector1">
            <a:avLst/>
          </a:prstGeom>
          <a:ln w="254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3A74BCBA-5BB5-21A5-1E26-82F385C37D34}"/>
              </a:ext>
            </a:extLst>
          </p:cNvPr>
          <p:cNvSpPr/>
          <p:nvPr/>
        </p:nvSpPr>
        <p:spPr>
          <a:xfrm>
            <a:off x="2944655" y="2610020"/>
            <a:ext cx="2089876" cy="90009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en-IN" sz="1800" b="1"/>
              <a:t>Ollama (Llama-3.2-3B Instruct)</a:t>
            </a:r>
            <a:endParaRPr lang="en-IN" sz="1800" b="1" dirty="0" err="1"/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A7C811E8-DBB5-8C00-18AB-A9ABB61B1842}"/>
              </a:ext>
            </a:extLst>
          </p:cNvPr>
          <p:cNvCxnSpPr>
            <a:stCxn id="54" idx="1"/>
            <a:endCxn id="57" idx="3"/>
          </p:cNvCxnSpPr>
          <p:nvPr/>
        </p:nvCxnSpPr>
        <p:spPr>
          <a:xfrm flipH="1" flipV="1">
            <a:off x="5034531" y="3060066"/>
            <a:ext cx="792499" cy="1"/>
          </a:xfrm>
          <a:prstGeom prst="straightConnector1">
            <a:avLst/>
          </a:prstGeom>
          <a:ln w="254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8A7025CD-D9B7-ABCE-CDFD-7B8445B892DE}"/>
              </a:ext>
            </a:extLst>
          </p:cNvPr>
          <p:cNvSpPr/>
          <p:nvPr/>
        </p:nvSpPr>
        <p:spPr>
          <a:xfrm>
            <a:off x="539664" y="4071848"/>
            <a:ext cx="2230311" cy="133031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en-IN" sz="1800" b="1"/>
              <a:t>LangGraph (Route + Retrieve + Generate + Guardrails)</a:t>
            </a:r>
            <a:endParaRPr lang="en-IN" sz="1800" b="1" dirty="0" err="1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9E2DE68-ACAE-3F3C-D504-B4FEAECA98E6}"/>
              </a:ext>
            </a:extLst>
          </p:cNvPr>
          <p:cNvSpPr/>
          <p:nvPr/>
        </p:nvSpPr>
        <p:spPr>
          <a:xfrm>
            <a:off x="3612379" y="4280043"/>
            <a:ext cx="1818401" cy="90009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en-IN" sz="1800" b="1"/>
              <a:t>Answer + Citations - Streamlit</a:t>
            </a:r>
            <a:endParaRPr lang="en-IN" sz="1800" b="1" dirty="0" err="1"/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775398AE-B980-5D19-6530-F51248407318}"/>
              </a:ext>
            </a:extLst>
          </p:cNvPr>
          <p:cNvCxnSpPr>
            <a:stCxn id="60" idx="3"/>
            <a:endCxn id="89" idx="1"/>
          </p:cNvCxnSpPr>
          <p:nvPr/>
        </p:nvCxnSpPr>
        <p:spPr>
          <a:xfrm flipV="1">
            <a:off x="2769975" y="4730088"/>
            <a:ext cx="842404" cy="6917"/>
          </a:xfrm>
          <a:prstGeom prst="straightConnector1">
            <a:avLst/>
          </a:prstGeom>
          <a:ln w="254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C3A16F94-02DF-453C-08FA-33C96C1DC686}"/>
              </a:ext>
            </a:extLst>
          </p:cNvPr>
          <p:cNvCxnSpPr>
            <a:stCxn id="57" idx="1"/>
            <a:endCxn id="60" idx="0"/>
          </p:cNvCxnSpPr>
          <p:nvPr/>
        </p:nvCxnSpPr>
        <p:spPr>
          <a:xfrm rot="10800000" flipV="1">
            <a:off x="1654821" y="3060066"/>
            <a:ext cx="1289835" cy="1011782"/>
          </a:xfrm>
          <a:prstGeom prst="bentConnector2">
            <a:avLst/>
          </a:prstGeom>
          <a:ln w="254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9493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15965-FE95-F125-A5C4-FEC8639A5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4" name="Screen Recording 3">
            <a:hlinkClick r:id="" action="ppaction://media"/>
            <a:extLst>
              <a:ext uri="{FF2B5EF4-FFF2-40B4-BE49-F238E27FC236}">
                <a16:creationId xmlns:a16="http://schemas.microsoft.com/office/drawing/2014/main" id="{4ABF3C8F-49F4-08C7-8524-863392512DD7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41125" y="1725046"/>
            <a:ext cx="8838239" cy="4111612"/>
          </a:xfrm>
        </p:spPr>
      </p:pic>
    </p:spTree>
    <p:extLst>
      <p:ext uri="{BB962C8B-B14F-4D97-AF65-F5344CB8AC3E}">
        <p14:creationId xmlns:p14="http://schemas.microsoft.com/office/powerpoint/2010/main" val="415312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3599"/>
    </mc:Choice>
    <mc:Fallback xmlns="">
      <p:transition spd="slow" advTm="9359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359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462DE-992E-CDEA-6D30-9398BCE49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8FFB19-A247-69DD-969D-4E9763ECD6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26" name="Diagram 25">
            <a:extLst>
              <a:ext uri="{FF2B5EF4-FFF2-40B4-BE49-F238E27FC236}">
                <a16:creationId xmlns:a16="http://schemas.microsoft.com/office/drawing/2014/main" id="{C9BF7AC7-8321-F58A-E67D-31FE1AAB32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0560431"/>
              </p:ext>
            </p:extLst>
          </p:nvPr>
        </p:nvGraphicFramePr>
        <p:xfrm>
          <a:off x="539664" y="1007044"/>
          <a:ext cx="10440988" cy="47334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62138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1F641-F009-F466-98B4-BDE3980A0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Problem &amp; Zie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36686-31C7-F12B-F11B-05079C1F27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94F05C-0796-E42C-13FB-00934215AAD4}"/>
              </a:ext>
            </a:extLst>
          </p:cNvPr>
          <p:cNvSpPr txBox="1"/>
          <p:nvPr/>
        </p:nvSpPr>
        <p:spPr>
          <a:xfrm>
            <a:off x="539664" y="1151855"/>
            <a:ext cx="10440988" cy="39151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de-DE" sz="2400"/>
              <a:t>Datenschutzorientierter medizinischer FAQ-Assistent (DE), der vollständig offline läuft.</a:t>
            </a:r>
          </a:p>
          <a:p>
            <a:pPr marL="176213" indent="-1762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de-DE" sz="2400"/>
              <a:t>Bietet allgemeine Informationen über die AOK, die Registrierung und den Zugang zu öffentlichen Dokumenten.</a:t>
            </a:r>
          </a:p>
          <a:p>
            <a:pPr marL="176213" indent="-1762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de-DE" sz="2400"/>
              <a:t>Sicherheitsvorkehrungen, um die Weitergabe sensibler Informationen wie Krankheiten zu verhindern.</a:t>
            </a:r>
          </a:p>
          <a:p>
            <a:pPr marL="176213" indent="-1762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de-DE" sz="2400"/>
              <a:t>Antworten müssen korrekt, zitiert und schnell sein.</a:t>
            </a:r>
          </a:p>
          <a:p>
            <a:pPr marL="176213" indent="-1762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de-DE" sz="2400"/>
              <a:t>Ziel: schneller, sicherer, lokaler Chatbot mit nachvollziehbaren Quellen</a:t>
            </a:r>
            <a:endParaRPr lang="en-IN" sz="2400" dirty="0" err="1"/>
          </a:p>
        </p:txBody>
      </p:sp>
    </p:spTree>
    <p:extLst>
      <p:ext uri="{BB962C8B-B14F-4D97-AF65-F5344CB8AC3E}">
        <p14:creationId xmlns:p14="http://schemas.microsoft.com/office/powerpoint/2010/main" val="4286528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8F678-65E5-056E-7AA0-8E0973916C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CAE5357-73DF-F9BC-18B6-1D20C3512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Chatbot Architektur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657A21-FA48-5A52-1DE5-04C25D8589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0DAAC99-2F2D-FE7E-7FEA-58CC7E8EC657}"/>
              </a:ext>
            </a:extLst>
          </p:cNvPr>
          <p:cNvGrpSpPr/>
          <p:nvPr/>
        </p:nvGrpSpPr>
        <p:grpSpPr>
          <a:xfrm>
            <a:off x="899664" y="3310839"/>
            <a:ext cx="8651098" cy="2574673"/>
            <a:chOff x="923556" y="3473728"/>
            <a:chExt cx="8651098" cy="2574673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9EAEAA2-A63C-B3E5-762D-6781FE4E14CE}"/>
                </a:ext>
              </a:extLst>
            </p:cNvPr>
            <p:cNvSpPr/>
            <p:nvPr/>
          </p:nvSpPr>
          <p:spPr>
            <a:xfrm>
              <a:off x="2735844" y="3473728"/>
              <a:ext cx="2089877" cy="1224132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LangGraph (Route, Abrufen, Generieren, Guardrails)</a:t>
              </a:r>
              <a:endParaRPr lang="en-IN" sz="1600" b="1" dirty="0" err="1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4DD572B-6E13-F18B-EC63-895390C6161C}"/>
                </a:ext>
              </a:extLst>
            </p:cNvPr>
            <p:cNvSpPr/>
            <p:nvPr/>
          </p:nvSpPr>
          <p:spPr>
            <a:xfrm>
              <a:off x="923556" y="3724837"/>
              <a:ext cx="1257682" cy="721915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Streamlit UI</a:t>
              </a:r>
              <a:endParaRPr lang="en-IN" sz="1600" b="1" dirty="0" err="1"/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48468BA7-D4DF-523B-82D1-50861CE3E895}"/>
                </a:ext>
              </a:extLst>
            </p:cNvPr>
            <p:cNvCxnSpPr>
              <a:cxnSpLocks/>
              <a:stCxn id="49" idx="3"/>
              <a:endCxn id="58" idx="1"/>
            </p:cNvCxnSpPr>
            <p:nvPr/>
          </p:nvCxnSpPr>
          <p:spPr>
            <a:xfrm flipV="1">
              <a:off x="2181238" y="4085794"/>
              <a:ext cx="554606" cy="1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6B49845-DEB5-550E-A2EF-D80ECFE02B11}"/>
                </a:ext>
              </a:extLst>
            </p:cNvPr>
            <p:cNvSpPr/>
            <p:nvPr/>
          </p:nvSpPr>
          <p:spPr>
            <a:xfrm>
              <a:off x="5380327" y="3534949"/>
              <a:ext cx="1951469" cy="110169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Hybrid Retrieval (BM25 Chunks + Dense via Chroma)</a:t>
              </a:r>
              <a:endParaRPr lang="en-IN" sz="1600" b="1" dirty="0" err="1"/>
            </a:p>
          </p:txBody>
        </p: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D709E691-D1F8-A820-AADD-6B7AF7B13351}"/>
                </a:ext>
              </a:extLst>
            </p:cNvPr>
            <p:cNvCxnSpPr>
              <a:cxnSpLocks/>
              <a:stCxn id="58" idx="3"/>
              <a:endCxn id="67" idx="1"/>
            </p:cNvCxnSpPr>
            <p:nvPr/>
          </p:nvCxnSpPr>
          <p:spPr>
            <a:xfrm>
              <a:off x="4825721" y="4085794"/>
              <a:ext cx="554606" cy="0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5BB18AE-FEC8-77BB-4E2C-2DC0928EC315}"/>
                </a:ext>
              </a:extLst>
            </p:cNvPr>
            <p:cNvSpPr/>
            <p:nvPr/>
          </p:nvSpPr>
          <p:spPr>
            <a:xfrm>
              <a:off x="7886402" y="3724837"/>
              <a:ext cx="1584176" cy="72008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Reranker (BGE)</a:t>
              </a:r>
              <a:endParaRPr lang="en-IN" sz="1600" b="1" dirty="0" err="1"/>
            </a:p>
          </p:txBody>
        </p: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72A2AF35-871F-726F-21EC-D9C80F2CF90E}"/>
                </a:ext>
              </a:extLst>
            </p:cNvPr>
            <p:cNvCxnSpPr>
              <a:cxnSpLocks/>
              <a:stCxn id="67" idx="3"/>
              <a:endCxn id="72" idx="1"/>
            </p:cNvCxnSpPr>
            <p:nvPr/>
          </p:nvCxnSpPr>
          <p:spPr>
            <a:xfrm flipV="1">
              <a:off x="7331796" y="4084877"/>
              <a:ext cx="554606" cy="917"/>
            </a:xfrm>
            <a:prstGeom prst="bentConnector3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1FE50192-3441-6E5E-E370-E6FC0AA526B8}"/>
                </a:ext>
              </a:extLst>
            </p:cNvPr>
            <p:cNvSpPr/>
            <p:nvPr/>
          </p:nvSpPr>
          <p:spPr>
            <a:xfrm>
              <a:off x="7647618" y="5075752"/>
              <a:ext cx="1927036" cy="720081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Ollama (Llama-3.2-3B Instruct)</a:t>
              </a:r>
              <a:endParaRPr lang="en-IN" sz="1600" b="1" dirty="0" err="1"/>
            </a:p>
          </p:txBody>
        </p: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C65632BD-D1D0-3BB8-E6BF-64B37F098935}"/>
                </a:ext>
              </a:extLst>
            </p:cNvPr>
            <p:cNvCxnSpPr>
              <a:cxnSpLocks/>
              <a:stCxn id="72" idx="2"/>
              <a:endCxn id="78" idx="0"/>
            </p:cNvCxnSpPr>
            <p:nvPr/>
          </p:nvCxnSpPr>
          <p:spPr>
            <a:xfrm rot="5400000">
              <a:off x="8329396" y="4726657"/>
              <a:ext cx="630835" cy="67354"/>
            </a:xfrm>
            <a:prstGeom prst="bentConnector3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0D869BE1-0260-76A5-DFE5-BBF50F360974}"/>
                </a:ext>
              </a:extLst>
            </p:cNvPr>
            <p:cNvSpPr/>
            <p:nvPr/>
          </p:nvSpPr>
          <p:spPr>
            <a:xfrm>
              <a:off x="4264040" y="4823183"/>
              <a:ext cx="2232574" cy="122521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b="1"/>
                <a:t>Antwortgenerator (Endgültige Antwort + Zitate mit Metadaten)</a:t>
              </a:r>
              <a:endParaRPr lang="en-IN" sz="1600" b="1" dirty="0" err="1"/>
            </a:p>
          </p:txBody>
        </p:sp>
        <p:cxnSp>
          <p:nvCxnSpPr>
            <p:cNvPr id="97" name="Connector: Elbow 96">
              <a:extLst>
                <a:ext uri="{FF2B5EF4-FFF2-40B4-BE49-F238E27FC236}">
                  <a16:creationId xmlns:a16="http://schemas.microsoft.com/office/drawing/2014/main" id="{98A4C926-2695-6D57-3D47-D8ABF27863BB}"/>
                </a:ext>
              </a:extLst>
            </p:cNvPr>
            <p:cNvCxnSpPr>
              <a:cxnSpLocks/>
              <a:stCxn id="78" idx="1"/>
              <a:endCxn id="95" idx="3"/>
            </p:cNvCxnSpPr>
            <p:nvPr/>
          </p:nvCxnSpPr>
          <p:spPr>
            <a:xfrm rot="10800000">
              <a:off x="6496614" y="5435793"/>
              <a:ext cx="1151004" cy="1"/>
            </a:xfrm>
            <a:prstGeom prst="bentConnector3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F32253A2-0275-C1F0-86EF-4E41AA32517C}"/>
              </a:ext>
            </a:extLst>
          </p:cNvPr>
          <p:cNvGrpSpPr/>
          <p:nvPr/>
        </p:nvGrpSpPr>
        <p:grpSpPr>
          <a:xfrm>
            <a:off x="682089" y="1205453"/>
            <a:ext cx="9012006" cy="2166607"/>
            <a:chOff x="539664" y="933996"/>
            <a:chExt cx="9012006" cy="216660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CB4869C-FB74-6696-0923-63F5E4F25478}"/>
                </a:ext>
              </a:extLst>
            </p:cNvPr>
            <p:cNvSpPr/>
            <p:nvPr/>
          </p:nvSpPr>
          <p:spPr>
            <a:xfrm>
              <a:off x="539664" y="933996"/>
              <a:ext cx="1953927" cy="93793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Datenquellen (FAQ, PDF, YAML, Webseite)</a:t>
              </a:r>
              <a:endParaRPr lang="en-IN" sz="1600" b="1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620CF17-7F9A-F9DA-C7FA-4CB14774C80F}"/>
                </a:ext>
              </a:extLst>
            </p:cNvPr>
            <p:cNvSpPr/>
            <p:nvPr/>
          </p:nvSpPr>
          <p:spPr>
            <a:xfrm>
              <a:off x="3095948" y="933997"/>
              <a:ext cx="2435773" cy="93793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Ingestion (</a:t>
              </a:r>
              <a:r>
                <a:rPr lang="de-DE" sz="1600" b="1"/>
                <a:t>Abruf + HTML/PDF, bereinigen, Trennung</a:t>
              </a:r>
              <a:r>
                <a:rPr lang="en-IN" sz="1600" b="1"/>
                <a:t>)</a:t>
              </a:r>
              <a:endParaRPr lang="en-IN" sz="1600" b="1" dirty="0" err="1"/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2254141B-C5C8-7208-54CE-4D26086D7A89}"/>
                </a:ext>
              </a:extLst>
            </p:cNvPr>
            <p:cNvCxnSpPr>
              <a:cxnSpLocks/>
              <a:stCxn id="9" idx="3"/>
              <a:endCxn id="10" idx="1"/>
            </p:cNvCxnSpPr>
            <p:nvPr/>
          </p:nvCxnSpPr>
          <p:spPr>
            <a:xfrm>
              <a:off x="2493591" y="1402966"/>
              <a:ext cx="602357" cy="0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E3D3F4B-6DEA-2C69-483C-069C554EB1A0}"/>
                </a:ext>
              </a:extLst>
            </p:cNvPr>
            <p:cNvSpPr/>
            <p:nvPr/>
          </p:nvSpPr>
          <p:spPr>
            <a:xfrm>
              <a:off x="7967494" y="1038385"/>
              <a:ext cx="1584176" cy="709961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Embeddings (BGE-M3)</a:t>
              </a:r>
              <a:endParaRPr lang="en-IN" sz="1600" b="1" dirty="0" err="1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CF9723D-223E-48D3-4FDD-E4C074F38835}"/>
                </a:ext>
              </a:extLst>
            </p:cNvPr>
            <p:cNvSpPr/>
            <p:nvPr/>
          </p:nvSpPr>
          <p:spPr>
            <a:xfrm>
              <a:off x="8089903" y="2082543"/>
              <a:ext cx="1413867" cy="65404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Vector DB (Chroma)</a:t>
              </a:r>
              <a:endParaRPr lang="en-IN" sz="1600" b="1" dirty="0" err="1"/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54960064-313F-D1F3-8F45-63B509A316E6}"/>
                </a:ext>
              </a:extLst>
            </p:cNvPr>
            <p:cNvSpPr/>
            <p:nvPr/>
          </p:nvSpPr>
          <p:spPr>
            <a:xfrm>
              <a:off x="6134078" y="981015"/>
              <a:ext cx="1406944" cy="8438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ctr"/>
            <a:lstStyle/>
            <a:p>
              <a:pPr algn="ctr">
                <a:spcBef>
                  <a:spcPts val="800"/>
                </a:spcBef>
              </a:pPr>
              <a:r>
                <a:rPr lang="en-IN" sz="1600" b="1"/>
                <a:t>BM25 Korpus (Chunks)</a:t>
              </a:r>
              <a:endParaRPr lang="en-IN" sz="1600" b="1" dirty="0" err="1"/>
            </a:p>
          </p:txBody>
        </p:sp>
        <p:cxnSp>
          <p:nvCxnSpPr>
            <p:cNvPr id="175" name="Connector: Elbow 174">
              <a:extLst>
                <a:ext uri="{FF2B5EF4-FFF2-40B4-BE49-F238E27FC236}">
                  <a16:creationId xmlns:a16="http://schemas.microsoft.com/office/drawing/2014/main" id="{9AA8C479-3F76-6D75-8C55-F50C470E871B}"/>
                </a:ext>
              </a:extLst>
            </p:cNvPr>
            <p:cNvCxnSpPr>
              <a:stCxn id="10" idx="3"/>
              <a:endCxn id="165" idx="1"/>
            </p:cNvCxnSpPr>
            <p:nvPr/>
          </p:nvCxnSpPr>
          <p:spPr>
            <a:xfrm flipV="1">
              <a:off x="5531721" y="1402965"/>
              <a:ext cx="602357" cy="1"/>
            </a:xfrm>
            <a:prstGeom prst="bentConnector3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Connector: Elbow 179">
              <a:extLst>
                <a:ext uri="{FF2B5EF4-FFF2-40B4-BE49-F238E27FC236}">
                  <a16:creationId xmlns:a16="http://schemas.microsoft.com/office/drawing/2014/main" id="{F90A1305-6365-3CDA-A44A-82386E60E73D}"/>
                </a:ext>
              </a:extLst>
            </p:cNvPr>
            <p:cNvCxnSpPr>
              <a:stCxn id="44" idx="3"/>
              <a:endCxn id="45" idx="0"/>
            </p:cNvCxnSpPr>
            <p:nvPr/>
          </p:nvCxnSpPr>
          <p:spPr>
            <a:xfrm flipH="1">
              <a:off x="8796837" y="1393366"/>
              <a:ext cx="754833" cy="689177"/>
            </a:xfrm>
            <a:prstGeom prst="bentConnector4">
              <a:avLst>
                <a:gd name="adj1" fmla="val -30285"/>
                <a:gd name="adj2" fmla="val 75754"/>
              </a:avLst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Connector: Elbow 182">
              <a:extLst>
                <a:ext uri="{FF2B5EF4-FFF2-40B4-BE49-F238E27FC236}">
                  <a16:creationId xmlns:a16="http://schemas.microsoft.com/office/drawing/2014/main" id="{338BDE97-2DB3-10E8-99A4-016AF369C8B0}"/>
                </a:ext>
              </a:extLst>
            </p:cNvPr>
            <p:cNvCxnSpPr>
              <a:stCxn id="10" idx="0"/>
              <a:endCxn id="44" idx="0"/>
            </p:cNvCxnSpPr>
            <p:nvPr/>
          </p:nvCxnSpPr>
          <p:spPr>
            <a:xfrm rot="16200000" flipH="1">
              <a:off x="6484514" y="-1236682"/>
              <a:ext cx="104388" cy="4445747"/>
            </a:xfrm>
            <a:prstGeom prst="bentConnector3">
              <a:avLst>
                <a:gd name="adj1" fmla="val -218991"/>
              </a:avLst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ctor: Elbow 184">
              <a:extLst>
                <a:ext uri="{FF2B5EF4-FFF2-40B4-BE49-F238E27FC236}">
                  <a16:creationId xmlns:a16="http://schemas.microsoft.com/office/drawing/2014/main" id="{8530A247-0443-38F4-3EA4-172B5FAF17BF}"/>
                </a:ext>
              </a:extLst>
            </p:cNvPr>
            <p:cNvCxnSpPr>
              <a:cxnSpLocks/>
              <a:stCxn id="165" idx="2"/>
              <a:endCxn id="67" idx="0"/>
            </p:cNvCxnSpPr>
            <p:nvPr/>
          </p:nvCxnSpPr>
          <p:spPr>
            <a:xfrm rot="5400000">
              <a:off x="5875804" y="2138856"/>
              <a:ext cx="1275689" cy="647805"/>
            </a:xfrm>
            <a:prstGeom prst="bentConnector3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Connector: Elbow 192">
              <a:extLst>
                <a:ext uri="{FF2B5EF4-FFF2-40B4-BE49-F238E27FC236}">
                  <a16:creationId xmlns:a16="http://schemas.microsoft.com/office/drawing/2014/main" id="{025E4DAF-F0CC-74CE-FD10-561DDF0025E5}"/>
                </a:ext>
              </a:extLst>
            </p:cNvPr>
            <p:cNvCxnSpPr>
              <a:stCxn id="45" idx="1"/>
              <a:endCxn id="165" idx="2"/>
            </p:cNvCxnSpPr>
            <p:nvPr/>
          </p:nvCxnSpPr>
          <p:spPr>
            <a:xfrm rot="10800000">
              <a:off x="6837551" y="1824915"/>
              <a:ext cx="1252353" cy="584653"/>
            </a:xfrm>
            <a:prstGeom prst="bentConnector2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961820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DE04E-9213-48AF-1225-4A3E312C8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Tech Stac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5ACC89-2F73-88EF-7311-6B00B5E13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106FFF-FC91-9BA7-0939-B5F29BEB8EFA}"/>
              </a:ext>
            </a:extLst>
          </p:cNvPr>
          <p:cNvSpPr txBox="1"/>
          <p:nvPr/>
        </p:nvSpPr>
        <p:spPr>
          <a:xfrm>
            <a:off x="539664" y="965490"/>
            <a:ext cx="10440988" cy="4549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Data (YAML FAQ, PDFs, AOK pages): PyYAML, requests/httpx, trafilatura, PyMuPDF, pandas</a:t>
            </a:r>
          </a:p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Ingestion (</a:t>
            </a:r>
            <a:r>
              <a:rPr lang="de-DE" sz="1800"/>
              <a:t>holen, reinigen, in Stücke schneiden</a:t>
            </a:r>
            <a:r>
              <a:rPr lang="en-IN" sz="1800"/>
              <a:t>): PyMuPDF, BeautifulSoup4</a:t>
            </a:r>
          </a:p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Chunker (Text Trennung): Basic Chunker, LangChain TextSplitters, NLTK/spaCy sentence split</a:t>
            </a:r>
          </a:p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Embeddings (BAAI/bge-m3): sentence-transformers, transformers</a:t>
            </a:r>
          </a:p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Vector DB (Chroma): chromadb, langchain-chroma</a:t>
            </a:r>
          </a:p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Hybrid Retrieval (BM25 + Dense, Fusion → Top-K): rank-bm25, langchain retrievers, simple ensemble logic</a:t>
            </a:r>
          </a:p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Reranker (bge-reranker v2-m3): sentence-transformers CrossEncoder</a:t>
            </a:r>
          </a:p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LangGraph (Route → Abrufen → Generieren; guardrails) </a:t>
            </a:r>
          </a:p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LLM via Ollama (llama3.2:3b default): ollama runtime </a:t>
            </a:r>
          </a:p>
          <a:p>
            <a:pPr marL="285750" indent="-285750" algn="just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IN" sz="1800"/>
              <a:t>UI (Antwort + Zitate): Streamlit</a:t>
            </a:r>
            <a:endParaRPr lang="en-IN" sz="1800" dirty="0" err="1"/>
          </a:p>
        </p:txBody>
      </p:sp>
    </p:spTree>
    <p:extLst>
      <p:ext uri="{BB962C8B-B14F-4D97-AF65-F5344CB8AC3E}">
        <p14:creationId xmlns:p14="http://schemas.microsoft.com/office/powerpoint/2010/main" val="1924415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FD49F-3542-AC49-89BE-212D01688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Video-Demonst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A15FD2-05A2-1DE6-B5F2-79665414D0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Untitled video - Made with Clipchamp">
            <a:hlinkClick r:id="" action="ppaction://media"/>
            <a:extLst>
              <a:ext uri="{FF2B5EF4-FFF2-40B4-BE49-F238E27FC236}">
                <a16:creationId xmlns:a16="http://schemas.microsoft.com/office/drawing/2014/main" id="{4F25FFE6-FD91-D682-7BF9-D431CBCF1AE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391" t="13696" r="2518" b="9743"/>
          <a:stretch>
            <a:fillRect/>
          </a:stretch>
        </p:blipFill>
        <p:spPr>
          <a:xfrm>
            <a:off x="539664" y="935831"/>
            <a:ext cx="8928993" cy="39604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32F17A6-3D2F-BB86-13F3-264D5165443B}"/>
              </a:ext>
            </a:extLst>
          </p:cNvPr>
          <p:cNvSpPr/>
          <p:nvPr/>
        </p:nvSpPr>
        <p:spPr>
          <a:xfrm>
            <a:off x="539664" y="931299"/>
            <a:ext cx="8928993" cy="3964972"/>
          </a:xfrm>
          <a:prstGeom prst="rect">
            <a:avLst/>
          </a:prstGeom>
          <a:solidFill>
            <a:schemeClr val="bg1">
              <a:alpha val="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IN" sz="1600" dirty="0" err="1"/>
          </a:p>
        </p:txBody>
      </p:sp>
    </p:spTree>
    <p:extLst>
      <p:ext uri="{BB962C8B-B14F-4D97-AF65-F5344CB8AC3E}">
        <p14:creationId xmlns:p14="http://schemas.microsoft.com/office/powerpoint/2010/main" val="3803916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04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 mute="1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90BCE-7CF4-F35E-5B93-918CB1C3F0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AA32F31-0833-75C8-504A-B0A006D02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de-DE"/>
              <a:t>Weitere Verbesserungen beim Chatbot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5A4CB12-1BAB-193A-B8CB-502A7ED969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7731050E-56C1-2D92-DC59-8453EC4DAF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49377"/>
              </p:ext>
            </p:extLst>
          </p:nvPr>
        </p:nvGraphicFramePr>
        <p:xfrm>
          <a:off x="539664" y="935831"/>
          <a:ext cx="6660740" cy="16916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60740">
                  <a:extLst>
                    <a:ext uri="{9D8B030D-6E8A-4147-A177-3AD203B41FA5}">
                      <a16:colId xmlns:a16="http://schemas.microsoft.com/office/drawing/2014/main" val="1874514729"/>
                    </a:ext>
                  </a:extLst>
                </a:gridCol>
              </a:tblGrid>
              <a:tr h="288725">
                <a:tc>
                  <a:txBody>
                    <a:bodyPr/>
                    <a:lstStyle/>
                    <a:p>
                      <a:pPr marL="0" marR="0" lvl="0" indent="0" algn="ctr" defTabSz="8639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/>
                        <a:t>Zukünftige Richtungen</a:t>
                      </a:r>
                      <a:endParaRPr lang="en-US" sz="2000" b="1">
                        <a:solidFill>
                          <a:srgbClr val="FFFFFF"/>
                        </a:solidFill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024513"/>
                  </a:ext>
                </a:extLst>
              </a:tr>
              <a:tr h="1295451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buFont typeface="Wingdings" panose="05000000000000000000" pitchFamily="2" charset="2"/>
                        <a:buChar char="à"/>
                      </a:pPr>
                      <a:r>
                        <a:rPr lang="en-US" sz="1600"/>
                        <a:t>Bessere Modelle mit Fine-Tuning</a:t>
                      </a:r>
                    </a:p>
                    <a:p>
                      <a:pPr algn="just">
                        <a:lnSpc>
                          <a:spcPct val="150000"/>
                        </a:lnSpc>
                        <a:buFont typeface="Wingdings" panose="05000000000000000000" pitchFamily="2" charset="2"/>
                        <a:buChar char="à"/>
                      </a:pPr>
                      <a:r>
                        <a:rPr lang="en-US" sz="1600"/>
                        <a:t>Satz-/Token-bewusstes Chunking (verbessert die Kontextkohärenz)</a:t>
                      </a:r>
                    </a:p>
                    <a:p>
                      <a:pPr algn="just">
                        <a:lnSpc>
                          <a:spcPct val="150000"/>
                        </a:lnSpc>
                        <a:buFont typeface="Wingdings" panose="05000000000000000000" pitchFamily="2" charset="2"/>
                        <a:buChar char="à"/>
                      </a:pPr>
                      <a:r>
                        <a:rPr lang="en-US" sz="1600"/>
                        <a:t>Optionale FastAPI-Endpunkte für Headless Serv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19571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2827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F58E82-17FE-1FC4-2818-86A9CCC13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1E20BA7-F960-FC4D-BDB4-A6F4491E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de-DE"/>
              <a:t>Beliebte GenAI-Bibliothek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9ED244-5193-87E2-6CB3-7C12974021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AE885B07-8B84-C3E4-CCEF-E94DB1108E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5109458"/>
              </p:ext>
            </p:extLst>
          </p:nvPr>
        </p:nvGraphicFramePr>
        <p:xfrm>
          <a:off x="539664" y="819929"/>
          <a:ext cx="10440988" cy="30027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988">
                  <a:extLst>
                    <a:ext uri="{9D8B030D-6E8A-4147-A177-3AD203B41FA5}">
                      <a16:colId xmlns:a16="http://schemas.microsoft.com/office/drawing/2014/main" val="187451472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8639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>
                          <a:solidFill>
                            <a:srgbClr val="FFFFFF"/>
                          </a:solidFill>
                          <a:sym typeface="+mn-lt"/>
                        </a:rPr>
                        <a:t>Name, Anwendung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024513"/>
                  </a:ext>
                </a:extLst>
              </a:tr>
              <a:tr h="1295451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buFont typeface="Wingdings" panose="05000000000000000000" pitchFamily="2" charset="2"/>
                        <a:buChar char="à"/>
                      </a:pPr>
                      <a:r>
                        <a:rPr lang="de-DE" sz="1600"/>
                        <a:t>LLaMA-Factory: </a:t>
                      </a:r>
                      <a:r>
                        <a:rPr lang="en-IN" sz="1600"/>
                        <a:t>No-Code-Fine-Tuning (100+ LLMs)</a:t>
                      </a:r>
                      <a:endParaRPr lang="de-DE" sz="1600"/>
                    </a:p>
                    <a:p>
                      <a:pPr algn="just">
                        <a:lnSpc>
                          <a:spcPct val="150000"/>
                        </a:lnSpc>
                        <a:buFont typeface="Wingdings" panose="05000000000000000000" pitchFamily="2" charset="2"/>
                        <a:buChar char="à"/>
                      </a:pPr>
                      <a:r>
                        <a:rPr lang="de-DE" sz="1600"/>
                        <a:t>RAGFlow: RAG + Agenten für bessere Kontexte</a:t>
                      </a:r>
                    </a:p>
                    <a:p>
                      <a:pPr algn="just">
                        <a:lnSpc>
                          <a:spcPct val="150000"/>
                        </a:lnSpc>
                        <a:buFont typeface="Wingdings" panose="05000000000000000000" pitchFamily="2" charset="2"/>
                        <a:buChar char="à"/>
                      </a:pPr>
                      <a:r>
                        <a:rPr lang="de-DE" sz="1600"/>
                        <a:t>Docling: Dokumente &amp; PDFs verstehen, nahtlos integrieren</a:t>
                      </a:r>
                    </a:p>
                    <a:p>
                      <a:pPr algn="just">
                        <a:lnSpc>
                          <a:spcPct val="150000"/>
                        </a:lnSpc>
                        <a:buFont typeface="Wingdings" panose="05000000000000000000" pitchFamily="2" charset="2"/>
                        <a:buChar char="à"/>
                      </a:pPr>
                      <a:r>
                        <a:rPr lang="en-US" sz="1600"/>
                        <a:t>AgenticSeek: </a:t>
                      </a:r>
                      <a:r>
                        <a:rPr lang="de-DE" sz="1600"/>
                        <a:t>100 % lokal: surft, codet, plant – Daten bleiben auf dem Gerät</a:t>
                      </a:r>
                    </a:p>
                    <a:p>
                      <a:pPr algn="just">
                        <a:lnSpc>
                          <a:spcPct val="150000"/>
                        </a:lnSpc>
                        <a:buFont typeface="Wingdings" panose="05000000000000000000" pitchFamily="2" charset="2"/>
                        <a:buChar char="à"/>
                      </a:pPr>
                      <a:r>
                        <a:rPr lang="de-DE" sz="1600"/>
                        <a:t>RAG-Anything (All-in-One RAG Framework): </a:t>
                      </a:r>
                      <a:r>
                        <a:rPr lang="en-IN" sz="1600"/>
                        <a:t>All-in-One-RAG für alle Inhaltstypen</a:t>
                      </a:r>
                    </a:p>
                    <a:p>
                      <a:pPr algn="just">
                        <a:lnSpc>
                          <a:spcPct val="150000"/>
                        </a:lnSpc>
                        <a:buFont typeface="Wingdings" panose="05000000000000000000" pitchFamily="2" charset="2"/>
                        <a:buChar char="à"/>
                      </a:pPr>
                      <a:r>
                        <a:rPr lang="en-US" sz="1600"/>
                        <a:t>AutoAgent (Fully-Automated &amp; Zero-Code LLM Agent Framework): </a:t>
                      </a:r>
                      <a:r>
                        <a:rPr lang="de-DE" sz="1600"/>
                        <a:t>Zero-Code-LLM-Agenten per natürlicher Sprache deployen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19571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04301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5FB9A8-E245-1D6C-C645-F68B22F07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355842"/>
            <a:ext cx="10440988" cy="613033"/>
          </a:xfrm>
        </p:spPr>
        <p:txBody>
          <a:bodyPr/>
          <a:lstStyle/>
          <a:p>
            <a:r>
              <a:rPr lang="de-DE" sz="4400">
                <a:solidFill>
                  <a:srgbClr val="BBE9FF"/>
                </a:solidFill>
              </a:rPr>
              <a:t>Vielen Dank für Ihre Aufmerksamkeit!</a:t>
            </a:r>
            <a:endParaRPr lang="en-IN" sz="44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A3786-FF1A-77C2-E6F1-951C4E9475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2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ASYID" val="1e8d2e1a-1903-49e9-ab19-7e2848d53996"/>
  <p:tag name="DEFAULTLANGUAGEID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;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;8.;9."/>
  <p:tag name="CONTACTSLID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8.;9."/>
</p:tagLst>
</file>

<file path=ppt/theme/theme1.xml><?xml version="1.0" encoding="utf-8"?>
<a:theme xmlns:a="http://schemas.openxmlformats.org/drawingml/2006/main" name="IAV">
  <a:themeElements>
    <a:clrScheme name="Benutzerdefiniert 11">
      <a:dk1>
        <a:srgbClr val="001A54"/>
      </a:dk1>
      <a:lt1>
        <a:srgbClr val="FFFFFF"/>
      </a:lt1>
      <a:dk2>
        <a:srgbClr val="041E96"/>
      </a:dk2>
      <a:lt2>
        <a:srgbClr val="FFFFFF"/>
      </a:lt2>
      <a:accent1>
        <a:srgbClr val="52C9FF"/>
      </a:accent1>
      <a:accent2>
        <a:srgbClr val="0091FF"/>
      </a:accent2>
      <a:accent3>
        <a:srgbClr val="1446EB"/>
      </a:accent3>
      <a:accent4>
        <a:srgbClr val="5500B4"/>
      </a:accent4>
      <a:accent5>
        <a:srgbClr val="A200E6"/>
      </a:accent5>
      <a:accent6>
        <a:srgbClr val="DC46F3"/>
      </a:accent6>
      <a:hlink>
        <a:srgbClr val="FF73FF"/>
      </a:hlink>
      <a:folHlink>
        <a:srgbClr val="FF73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44000" tIns="108000" rIns="144000" bIns="144000" rtlCol="0" anchor="t"/>
      <a:lstStyle>
        <a:defPPr algn="l">
          <a:spcBef>
            <a:spcPts val="8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6213" indent="-176213" algn="l">
          <a:lnSpc>
            <a:spcPct val="120000"/>
          </a:lnSpc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B0">
      <a:srgbClr val="001A54"/>
    </a:custClr>
    <a:custClr name="B1">
      <a:srgbClr val="041E96"/>
    </a:custClr>
    <a:custClr name="B2">
      <a:srgbClr val="1446EB"/>
    </a:custClr>
    <a:custClr name="B3">
      <a:srgbClr val="0091FF"/>
    </a:custClr>
    <a:custClr name="B4">
      <a:srgbClr val="52C9FF"/>
    </a:custClr>
    <a:custClr name="B5">
      <a:srgbClr val="96E7FF"/>
    </a:custClr>
    <a:custClr name="B6">
      <a:srgbClr val="D2F5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M1">
      <a:srgbClr val="5500B4"/>
    </a:custClr>
    <a:custClr name="M2">
      <a:srgbClr val="A200E6"/>
    </a:custClr>
    <a:custClr name="M3">
      <a:srgbClr val="DC46F3"/>
    </a:custClr>
    <a:custClr name="M4">
      <a:srgbClr val="FF73FA"/>
    </a:custClr>
    <a:custClr name="M5">
      <a:srgbClr val="FFAFFF"/>
    </a:custClr>
    <a:custClr name="M6">
      <a:srgbClr val="FDDE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Gray (Inactive Content)">
      <a:srgbClr val="CCCCCC"/>
    </a:custClr>
    <a:custClr name="Traffic Light Red">
      <a:srgbClr val="F80000"/>
    </a:custClr>
    <a:custClr name="Traffic Light Yellow">
      <a:srgbClr val="FFD800"/>
    </a:custClr>
    <a:custClr name="Traffic Light Green">
      <a:srgbClr val="80D800"/>
    </a:custClr>
    <a:custClr name="Dark Green">
      <a:srgbClr val="28A000"/>
    </a:custClr>
    <a:custClr name="Orange">
      <a:srgbClr val="FF900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_blank_IAV_EN.pptx" id="{9180A821-1837-459C-9761-3CCECA807343}" vid="{3116E190-DFB7-440F-9C8B-CB27DA4B3496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118928A2B7EF48913961D044C08128" ma:contentTypeVersion="13" ma:contentTypeDescription="Ein neues Dokument erstellen." ma:contentTypeScope="" ma:versionID="1e55f9b661f40172bd388d24963110b9">
  <xsd:schema xmlns:xsd="http://www.w3.org/2001/XMLSchema" xmlns:xs="http://www.w3.org/2001/XMLSchema" xmlns:p="http://schemas.microsoft.com/office/2006/metadata/properties" xmlns:ns2="09130a7c-92cc-4e34-b8e4-72eee94df1b6" xmlns:ns3="e1e66736-a3dc-482f-b04b-4e407ae1a9cb" targetNamespace="http://schemas.microsoft.com/office/2006/metadata/properties" ma:root="true" ma:fieldsID="c3ccd8b0b397ad92be6571d69600817f" ns2:_="" ns3:_="">
    <xsd:import namespace="09130a7c-92cc-4e34-b8e4-72eee94df1b6"/>
    <xsd:import namespace="e1e66736-a3dc-482f-b04b-4e407ae1a9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30a7c-92cc-4e34-b8e4-72eee94df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66736-a3dc-482f-b04b-4e407ae1a9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0A95B5A-25F6-4920-AD5E-05C87DB744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30a7c-92cc-4e34-b8e4-72eee94df1b6"/>
    <ds:schemaRef ds:uri="e1e66736-a3dc-482f-b04b-4e407ae1a9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F59E95-4674-4DBF-8B86-37F165645A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423D9F-D4F6-4722-86F7-B7F1FD487CDF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9130a7c-92cc-4e34-b8e4-72eee94df1b6"/>
    <ds:schemaRef ds:uri="http://purl.org/dc/terms/"/>
    <ds:schemaRef ds:uri="http://schemas.openxmlformats.org/package/2006/metadata/core-properties"/>
    <ds:schemaRef ds:uri="e1e66736-a3dc-482f-b04b-4e407ae1a9c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EN</Template>
  <TotalTime>6939</TotalTime>
  <Words>590</Words>
  <Application>Microsoft Office PowerPoint</Application>
  <PresentationFormat>Custom</PresentationFormat>
  <Paragraphs>100</Paragraphs>
  <Slides>12</Slides>
  <Notes>8</Notes>
  <HiddenSlides>0</HiddenSlides>
  <MMClips>2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IAV</vt:lpstr>
      <vt:lpstr>think-cell Folie</vt:lpstr>
      <vt:lpstr>Offline-Medizin-Chatbot mit Retrieval-Augmented Generation (RAG)</vt:lpstr>
      <vt:lpstr>Contents</vt:lpstr>
      <vt:lpstr>Problem &amp; Ziele</vt:lpstr>
      <vt:lpstr>Chatbot Architektur</vt:lpstr>
      <vt:lpstr>Tech Stack</vt:lpstr>
      <vt:lpstr>Video-Demonstration</vt:lpstr>
      <vt:lpstr>Weitere Verbesserungen beim Chatbot</vt:lpstr>
      <vt:lpstr>Beliebte GenAI-Bibliotheken</vt:lpstr>
      <vt:lpstr>Vielen Dank für Ihre Aufmerksamkeit!</vt:lpstr>
      <vt:lpstr>Contact</vt:lpstr>
      <vt:lpstr>Chatbot Architecture</vt:lpstr>
      <vt:lpstr>PowerPoint Presentation</vt:lpstr>
    </vt:vector>
  </TitlesOfParts>
  <Manager>https://stages.iavgroup.local/stages/#/workspace/214/_vv/(process/guidance/_0_p9kNvOsXuJeO_xYUcznA)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amachandran Madhukar, Adhitya (TD-X41)</dc:creator>
  <cp:keywords/>
  <dc:description>Test</dc:description>
  <cp:lastModifiedBy>Adhitya RM</cp:lastModifiedBy>
  <cp:revision>230</cp:revision>
  <cp:lastPrinted>2020-08-14T12:42:29Z</cp:lastPrinted>
  <dcterms:created xsi:type="dcterms:W3CDTF">2025-03-19T14:29:03Z</dcterms:created>
  <dcterms:modified xsi:type="dcterms:W3CDTF">2025-12-03T13:17:52Z</dcterms:modified>
  <cp:category>Communications&amp;Marketing</cp:category>
  <cp:version>401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18928A2B7EF48913961D044C08128</vt:lpwstr>
  </property>
  <property fmtid="{D5CDD505-2E9C-101B-9397-08002B2CF9AE}" pid="3" name="MSIP_Label_eda87506-7fda-481d-a14b-4a8fe5add330_Enabled">
    <vt:lpwstr>true</vt:lpwstr>
  </property>
  <property fmtid="{D5CDD505-2E9C-101B-9397-08002B2CF9AE}" pid="4" name="MSIP_Label_eda87506-7fda-481d-a14b-4a8fe5add330_SetDate">
    <vt:lpwstr>2021-11-08T12:19:10Z</vt:lpwstr>
  </property>
  <property fmtid="{D5CDD505-2E9C-101B-9397-08002B2CF9AE}" pid="5" name="MSIP_Label_eda87506-7fda-481d-a14b-4a8fe5add330_Method">
    <vt:lpwstr>Standard</vt:lpwstr>
  </property>
  <property fmtid="{D5CDD505-2E9C-101B-9397-08002B2CF9AE}" pid="6" name="MSIP_Label_eda87506-7fda-481d-a14b-4a8fe5add330_Name">
    <vt:lpwstr>internal</vt:lpwstr>
  </property>
  <property fmtid="{D5CDD505-2E9C-101B-9397-08002B2CF9AE}" pid="7" name="MSIP_Label_eda87506-7fda-481d-a14b-4a8fe5add330_SiteId">
    <vt:lpwstr>cd726fc8-636c-4794-8425-41f9d8b0d7d5</vt:lpwstr>
  </property>
  <property fmtid="{D5CDD505-2E9C-101B-9397-08002B2CF9AE}" pid="8" name="MSIP_Label_eda87506-7fda-481d-a14b-4a8fe5add330_ActionId">
    <vt:lpwstr>f2fe046f-84d0-4a87-9c4f-badbea6e297f</vt:lpwstr>
  </property>
  <property fmtid="{D5CDD505-2E9C-101B-9397-08002B2CF9AE}" pid="9" name="MSIP_Label_eda87506-7fda-481d-a14b-4a8fe5add330_ContentBits">
    <vt:lpwstr>0</vt:lpwstr>
  </property>
</Properties>
</file>